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7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6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6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2.xml" ContentType="application/vnd.openxmlformats-officedocument.drawingml.chart+xml"/>
  <Override PartName="/ppt/notesSlides/notesSlide3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35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3.xml" ContentType="application/vnd.openxmlformats-officedocument.drawingml.chart+xml"/>
  <Override PartName="/ppt/notesSlides/notesSlide37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71" r:id="rId5"/>
    <p:sldMasterId id="2147483674" r:id="rId6"/>
    <p:sldMasterId id="2147483689" r:id="rId7"/>
    <p:sldMasterId id="2147483691" r:id="rId8"/>
    <p:sldMasterId id="2147483694" r:id="rId9"/>
    <p:sldMasterId id="2147483696" r:id="rId10"/>
  </p:sldMasterIdLst>
  <p:notesMasterIdLst>
    <p:notesMasterId r:id="rId62"/>
  </p:notesMasterIdLst>
  <p:handoutMasterIdLst>
    <p:handoutMasterId r:id="rId63"/>
  </p:handoutMasterIdLst>
  <p:sldIdLst>
    <p:sldId id="7166" r:id="rId11"/>
    <p:sldId id="7165" r:id="rId12"/>
    <p:sldId id="7175" r:id="rId13"/>
    <p:sldId id="7176" r:id="rId14"/>
    <p:sldId id="2147469232" r:id="rId15"/>
    <p:sldId id="7178" r:id="rId16"/>
    <p:sldId id="7179" r:id="rId17"/>
    <p:sldId id="7190" r:id="rId18"/>
    <p:sldId id="7181" r:id="rId19"/>
    <p:sldId id="7188" r:id="rId20"/>
    <p:sldId id="2147469241" r:id="rId21"/>
    <p:sldId id="7131" r:id="rId22"/>
    <p:sldId id="7140" r:id="rId23"/>
    <p:sldId id="7144" r:id="rId24"/>
    <p:sldId id="2147469243" r:id="rId25"/>
    <p:sldId id="2147469244" r:id="rId26"/>
    <p:sldId id="2147469229" r:id="rId27"/>
    <p:sldId id="2147469225" r:id="rId28"/>
    <p:sldId id="7145" r:id="rId29"/>
    <p:sldId id="6792" r:id="rId30"/>
    <p:sldId id="7159" r:id="rId31"/>
    <p:sldId id="2147469239" r:id="rId32"/>
    <p:sldId id="2147469240" r:id="rId33"/>
    <p:sldId id="7184" r:id="rId34"/>
    <p:sldId id="2147469231" r:id="rId35"/>
    <p:sldId id="7194" r:id="rId36"/>
    <p:sldId id="2147469233" r:id="rId37"/>
    <p:sldId id="2147469234" r:id="rId38"/>
    <p:sldId id="2147469235" r:id="rId39"/>
    <p:sldId id="2147469236" r:id="rId40"/>
    <p:sldId id="7156" r:id="rId41"/>
    <p:sldId id="7171" r:id="rId42"/>
    <p:sldId id="340" r:id="rId43"/>
    <p:sldId id="7147" r:id="rId44"/>
    <p:sldId id="6896" r:id="rId45"/>
    <p:sldId id="7164" r:id="rId46"/>
    <p:sldId id="7090" r:id="rId47"/>
    <p:sldId id="2147469237" r:id="rId48"/>
    <p:sldId id="6959" r:id="rId49"/>
    <p:sldId id="6979" r:id="rId50"/>
    <p:sldId id="6903" r:id="rId51"/>
    <p:sldId id="7191" r:id="rId52"/>
    <p:sldId id="6912" r:id="rId53"/>
    <p:sldId id="2147469220" r:id="rId54"/>
    <p:sldId id="7110" r:id="rId55"/>
    <p:sldId id="7148" r:id="rId56"/>
    <p:sldId id="7193" r:id="rId57"/>
    <p:sldId id="7085" r:id="rId58"/>
    <p:sldId id="7149" r:id="rId59"/>
    <p:sldId id="7094" r:id="rId60"/>
    <p:sldId id="7141" r:id="rId6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6B9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A08CF7-ECCA-3E46-89E4-9EC811F284B1}" v="13" dt="2023-09-18T09:41:14.9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63" Type="http://schemas.openxmlformats.org/officeDocument/2006/relationships/handoutMaster" Target="handoutMasters/handoutMaster1.xml"/><Relationship Id="rId68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1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tableStyles" Target="tableStyle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enzo Negro" userId="S::l.negro@logotel.it::f5c1ec43-de79-40b8-82f6-f96ea1916685" providerId="AD" clId="Web-{116B6D34-B15B-D92E-218D-E46AE05A5FCA}"/>
    <pc:docChg chg="modSld">
      <pc:chgData name="Lorenzo Negro" userId="S::l.negro@logotel.it::f5c1ec43-de79-40b8-82f6-f96ea1916685" providerId="AD" clId="Web-{116B6D34-B15B-D92E-218D-E46AE05A5FCA}" dt="2023-09-04T14:38:52.735" v="1" actId="20577"/>
      <pc:docMkLst>
        <pc:docMk/>
      </pc:docMkLst>
      <pc:sldChg chg="modSp">
        <pc:chgData name="Lorenzo Negro" userId="S::l.negro@logotel.it::f5c1ec43-de79-40b8-82f6-f96ea1916685" providerId="AD" clId="Web-{116B6D34-B15B-D92E-218D-E46AE05A5FCA}" dt="2023-09-04T14:38:52.735" v="1" actId="20577"/>
        <pc:sldMkLst>
          <pc:docMk/>
          <pc:sldMk cId="3764745504" sldId="2147469225"/>
        </pc:sldMkLst>
        <pc:spChg chg="mod">
          <ac:chgData name="Lorenzo Negro" userId="S::l.negro@logotel.it::f5c1ec43-de79-40b8-82f6-f96ea1916685" providerId="AD" clId="Web-{116B6D34-B15B-D92E-218D-E46AE05A5FCA}" dt="2023-09-04T14:38:52.735" v="1" actId="20577"/>
          <ac:spMkLst>
            <pc:docMk/>
            <pc:sldMk cId="3764745504" sldId="2147469225"/>
            <ac:spMk id="27" creationId="{3B1D8E64-2505-4015-A9C6-D127370E8BF8}"/>
          </ac:spMkLst>
        </pc:spChg>
      </pc:sldChg>
    </pc:docChg>
  </pc:docChgLst>
  <pc:docChgLst>
    <pc:chgData name="Lorenzo Negro" userId="f5c1ec43-de79-40b8-82f6-f96ea1916685" providerId="ADAL" clId="{03DDE8F0-7760-6445-82E5-3D78AF516955}"/>
    <pc:docChg chg="undo redo custSel addSld delSld modSld modMainMaster">
      <pc:chgData name="Lorenzo Negro" userId="f5c1ec43-de79-40b8-82f6-f96ea1916685" providerId="ADAL" clId="{03DDE8F0-7760-6445-82E5-3D78AF516955}" dt="2023-07-27T12:42:55.655" v="2064" actId="1035"/>
      <pc:docMkLst>
        <pc:docMk/>
      </pc:docMkLst>
      <pc:sldChg chg="addSp delSp modSp mod">
        <pc:chgData name="Lorenzo Negro" userId="f5c1ec43-de79-40b8-82f6-f96ea1916685" providerId="ADAL" clId="{03DDE8F0-7760-6445-82E5-3D78AF516955}" dt="2023-07-20T16:26:55.141" v="1213" actId="1076"/>
        <pc:sldMkLst>
          <pc:docMk/>
          <pc:sldMk cId="3798803603" sldId="6896"/>
        </pc:sldMkLst>
        <pc:spChg chg="mod">
          <ac:chgData name="Lorenzo Negro" userId="f5c1ec43-de79-40b8-82f6-f96ea1916685" providerId="ADAL" clId="{03DDE8F0-7760-6445-82E5-3D78AF516955}" dt="2023-07-20T16:26:21.951" v="1208"/>
          <ac:spMkLst>
            <pc:docMk/>
            <pc:sldMk cId="3798803603" sldId="6896"/>
            <ac:spMk id="12" creationId="{F79AE9A0-B179-26B6-E4B7-10F6A9B4D8BD}"/>
          </ac:spMkLst>
        </pc:spChg>
        <pc:spChg chg="mod">
          <ac:chgData name="Lorenzo Negro" userId="f5c1ec43-de79-40b8-82f6-f96ea1916685" providerId="ADAL" clId="{03DDE8F0-7760-6445-82E5-3D78AF516955}" dt="2023-07-20T16:26:21.951" v="1208"/>
          <ac:spMkLst>
            <pc:docMk/>
            <pc:sldMk cId="3798803603" sldId="6896"/>
            <ac:spMk id="15" creationId="{162113D0-2EE2-F1FF-459D-66959A659C04}"/>
          </ac:spMkLst>
        </pc:spChg>
        <pc:spChg chg="mod">
          <ac:chgData name="Lorenzo Negro" userId="f5c1ec43-de79-40b8-82f6-f96ea1916685" providerId="ADAL" clId="{03DDE8F0-7760-6445-82E5-3D78AF516955}" dt="2023-07-20T16:26:21.951" v="1208"/>
          <ac:spMkLst>
            <pc:docMk/>
            <pc:sldMk cId="3798803603" sldId="6896"/>
            <ac:spMk id="18" creationId="{52543132-26CC-1823-AC77-D337901BBCDA}"/>
          </ac:spMkLst>
        </pc:spChg>
        <pc:spChg chg="mod">
          <ac:chgData name="Lorenzo Negro" userId="f5c1ec43-de79-40b8-82f6-f96ea1916685" providerId="ADAL" clId="{03DDE8F0-7760-6445-82E5-3D78AF516955}" dt="2023-07-20T16:26:21.951" v="1208"/>
          <ac:spMkLst>
            <pc:docMk/>
            <pc:sldMk cId="3798803603" sldId="6896"/>
            <ac:spMk id="21" creationId="{113C0E69-4981-975B-862B-B1A8118FDE0B}"/>
          </ac:spMkLst>
        </pc:spChg>
        <pc:spChg chg="mod">
          <ac:chgData name="Lorenzo Negro" userId="f5c1ec43-de79-40b8-82f6-f96ea1916685" providerId="ADAL" clId="{03DDE8F0-7760-6445-82E5-3D78AF516955}" dt="2023-07-20T16:26:27.560" v="1210"/>
          <ac:spMkLst>
            <pc:docMk/>
            <pc:sldMk cId="3798803603" sldId="6896"/>
            <ac:spMk id="24" creationId="{70A4C334-2534-79ED-5278-BB299B59C3B6}"/>
          </ac:spMkLst>
        </pc:spChg>
        <pc:spChg chg="mod">
          <ac:chgData name="Lorenzo Negro" userId="f5c1ec43-de79-40b8-82f6-f96ea1916685" providerId="ADAL" clId="{03DDE8F0-7760-6445-82E5-3D78AF516955}" dt="2023-07-20T16:26:27.560" v="1210"/>
          <ac:spMkLst>
            <pc:docMk/>
            <pc:sldMk cId="3798803603" sldId="6896"/>
            <ac:spMk id="29" creationId="{769C3359-D65E-651B-DCF5-071E9501AE26}"/>
          </ac:spMkLst>
        </pc:spChg>
        <pc:spChg chg="mod">
          <ac:chgData name="Lorenzo Negro" userId="f5c1ec43-de79-40b8-82f6-f96ea1916685" providerId="ADAL" clId="{03DDE8F0-7760-6445-82E5-3D78AF516955}" dt="2023-07-20T16:26:27.560" v="1210"/>
          <ac:spMkLst>
            <pc:docMk/>
            <pc:sldMk cId="3798803603" sldId="6896"/>
            <ac:spMk id="44" creationId="{FCAF0253-38A5-4E03-E39D-AD3374EE7E59}"/>
          </ac:spMkLst>
        </pc:spChg>
        <pc:spChg chg="mod">
          <ac:chgData name="Lorenzo Negro" userId="f5c1ec43-de79-40b8-82f6-f96ea1916685" providerId="ADAL" clId="{03DDE8F0-7760-6445-82E5-3D78AF516955}" dt="2023-07-20T16:26:27.560" v="1210"/>
          <ac:spMkLst>
            <pc:docMk/>
            <pc:sldMk cId="3798803603" sldId="6896"/>
            <ac:spMk id="47" creationId="{F2D25909-EFC4-F145-7983-BA319C132135}"/>
          </ac:spMkLst>
        </pc:spChg>
        <pc:spChg chg="mod">
          <ac:chgData name="Lorenzo Negro" userId="f5c1ec43-de79-40b8-82f6-f96ea1916685" providerId="ADAL" clId="{03DDE8F0-7760-6445-82E5-3D78AF516955}" dt="2023-07-20T16:26:52.138" v="1211" actId="1076"/>
          <ac:spMkLst>
            <pc:docMk/>
            <pc:sldMk cId="3798803603" sldId="6896"/>
            <ac:spMk id="49" creationId="{B7EDB3BE-C634-47E1-A819-6C10E816F0D3}"/>
          </ac:spMkLst>
        </pc:spChg>
        <pc:spChg chg="mod">
          <ac:chgData name="Lorenzo Negro" userId="f5c1ec43-de79-40b8-82f6-f96ea1916685" providerId="ADAL" clId="{03DDE8F0-7760-6445-82E5-3D78AF516955}" dt="2023-07-20T16:26:55.141" v="1213" actId="1076"/>
          <ac:spMkLst>
            <pc:docMk/>
            <pc:sldMk cId="3798803603" sldId="6896"/>
            <ac:spMk id="51" creationId="{33142278-E721-4107-A53F-8D615FA094E8}"/>
          </ac:spMkLst>
        </pc:spChg>
        <pc:grpChg chg="del">
          <ac:chgData name="Lorenzo Negro" userId="f5c1ec43-de79-40b8-82f6-f96ea1916685" providerId="ADAL" clId="{03DDE8F0-7760-6445-82E5-3D78AF516955}" dt="2023-07-20T16:26:20.019" v="1206" actId="478"/>
          <ac:grpSpMkLst>
            <pc:docMk/>
            <pc:sldMk cId="3798803603" sldId="6896"/>
            <ac:grpSpMk id="5" creationId="{44C0F01D-89AF-554A-A071-925EEB6AD2C2}"/>
          </ac:grpSpMkLst>
        </pc:grpChg>
        <pc:grpChg chg="del">
          <ac:chgData name="Lorenzo Negro" userId="f5c1ec43-de79-40b8-82f6-f96ea1916685" providerId="ADAL" clId="{03DDE8F0-7760-6445-82E5-3D78AF516955}" dt="2023-07-20T16:26:20.740" v="1207" actId="478"/>
          <ac:grpSpMkLst>
            <pc:docMk/>
            <pc:sldMk cId="3798803603" sldId="6896"/>
            <ac:grpSpMk id="7" creationId="{0F8AB97A-8556-054D-A1AF-7A5F92199543}"/>
          </ac:grpSpMkLst>
        </pc:grpChg>
        <pc:grpChg chg="del">
          <ac:chgData name="Lorenzo Negro" userId="f5c1ec43-de79-40b8-82f6-f96ea1916685" providerId="ADAL" clId="{03DDE8F0-7760-6445-82E5-3D78AF516955}" dt="2023-07-20T16:26:19.192" v="1205" actId="478"/>
          <ac:grpSpMkLst>
            <pc:docMk/>
            <pc:sldMk cId="3798803603" sldId="6896"/>
            <ac:grpSpMk id="8" creationId="{11DE011A-0AA6-2B4D-8AF2-C989306F78F6}"/>
          </ac:grpSpMkLst>
        </pc:grpChg>
        <pc:grpChg chg="del">
          <ac:chgData name="Lorenzo Negro" userId="f5c1ec43-de79-40b8-82f6-f96ea1916685" providerId="ADAL" clId="{03DDE8F0-7760-6445-82E5-3D78AF516955}" dt="2023-07-20T16:26:18.479" v="1204" actId="478"/>
          <ac:grpSpMkLst>
            <pc:docMk/>
            <pc:sldMk cId="3798803603" sldId="6896"/>
            <ac:grpSpMk id="9" creationId="{FF51FB5F-D40A-3F40-8CD6-3FABEAE175DA}"/>
          </ac:grpSpMkLst>
        </pc:grpChg>
        <pc:grpChg chg="add del mod">
          <ac:chgData name="Lorenzo Negro" userId="f5c1ec43-de79-40b8-82f6-f96ea1916685" providerId="ADAL" clId="{03DDE8F0-7760-6445-82E5-3D78AF516955}" dt="2023-07-20T16:26:27.544" v="1209"/>
          <ac:grpSpMkLst>
            <pc:docMk/>
            <pc:sldMk cId="3798803603" sldId="6896"/>
            <ac:grpSpMk id="11" creationId="{0D7B1CD8-CBD0-0075-1C67-7DEA27887ECA}"/>
          </ac:grpSpMkLst>
        </pc:grpChg>
        <pc:grpChg chg="add del mod">
          <ac:chgData name="Lorenzo Negro" userId="f5c1ec43-de79-40b8-82f6-f96ea1916685" providerId="ADAL" clId="{03DDE8F0-7760-6445-82E5-3D78AF516955}" dt="2023-07-20T16:26:27.544" v="1209"/>
          <ac:grpSpMkLst>
            <pc:docMk/>
            <pc:sldMk cId="3798803603" sldId="6896"/>
            <ac:grpSpMk id="14" creationId="{77E75121-AA78-0465-F5DF-EF635A7D02CD}"/>
          </ac:grpSpMkLst>
        </pc:grpChg>
        <pc:grpChg chg="add del mod">
          <ac:chgData name="Lorenzo Negro" userId="f5c1ec43-de79-40b8-82f6-f96ea1916685" providerId="ADAL" clId="{03DDE8F0-7760-6445-82E5-3D78AF516955}" dt="2023-07-20T16:26:27.544" v="1209"/>
          <ac:grpSpMkLst>
            <pc:docMk/>
            <pc:sldMk cId="3798803603" sldId="6896"/>
            <ac:grpSpMk id="17" creationId="{67C603F2-2B25-93C7-C9D7-9B6C1F397B6F}"/>
          </ac:grpSpMkLst>
        </pc:grpChg>
        <pc:grpChg chg="add del mod">
          <ac:chgData name="Lorenzo Negro" userId="f5c1ec43-de79-40b8-82f6-f96ea1916685" providerId="ADAL" clId="{03DDE8F0-7760-6445-82E5-3D78AF516955}" dt="2023-07-20T16:26:27.544" v="1209"/>
          <ac:grpSpMkLst>
            <pc:docMk/>
            <pc:sldMk cId="3798803603" sldId="6896"/>
            <ac:grpSpMk id="20" creationId="{F0926044-E3B6-08D0-31D7-75D3C442A798}"/>
          </ac:grpSpMkLst>
        </pc:grpChg>
        <pc:grpChg chg="add mod">
          <ac:chgData name="Lorenzo Negro" userId="f5c1ec43-de79-40b8-82f6-f96ea1916685" providerId="ADAL" clId="{03DDE8F0-7760-6445-82E5-3D78AF516955}" dt="2023-07-20T16:26:27.560" v="1210"/>
          <ac:grpSpMkLst>
            <pc:docMk/>
            <pc:sldMk cId="3798803603" sldId="6896"/>
            <ac:grpSpMk id="23" creationId="{5DCA950F-40B2-4112-4F5C-F6C9641588D9}"/>
          </ac:grpSpMkLst>
        </pc:grpChg>
        <pc:grpChg chg="add mod">
          <ac:chgData name="Lorenzo Negro" userId="f5c1ec43-de79-40b8-82f6-f96ea1916685" providerId="ADAL" clId="{03DDE8F0-7760-6445-82E5-3D78AF516955}" dt="2023-07-20T16:26:27.560" v="1210"/>
          <ac:grpSpMkLst>
            <pc:docMk/>
            <pc:sldMk cId="3798803603" sldId="6896"/>
            <ac:grpSpMk id="26" creationId="{B00DCA0A-58DC-5AE3-7C6B-0136A6E4D6DC}"/>
          </ac:grpSpMkLst>
        </pc:grpChg>
        <pc:grpChg chg="add mod">
          <ac:chgData name="Lorenzo Negro" userId="f5c1ec43-de79-40b8-82f6-f96ea1916685" providerId="ADAL" clId="{03DDE8F0-7760-6445-82E5-3D78AF516955}" dt="2023-07-20T16:26:27.560" v="1210"/>
          <ac:grpSpMkLst>
            <pc:docMk/>
            <pc:sldMk cId="3798803603" sldId="6896"/>
            <ac:grpSpMk id="42" creationId="{7B27C3A5-71BE-8675-839B-7354AC533803}"/>
          </ac:grpSpMkLst>
        </pc:grpChg>
        <pc:grpChg chg="add mod">
          <ac:chgData name="Lorenzo Negro" userId="f5c1ec43-de79-40b8-82f6-f96ea1916685" providerId="ADAL" clId="{03DDE8F0-7760-6445-82E5-3D78AF516955}" dt="2023-07-20T16:26:27.560" v="1210"/>
          <ac:grpSpMkLst>
            <pc:docMk/>
            <pc:sldMk cId="3798803603" sldId="6896"/>
            <ac:grpSpMk id="46" creationId="{9981A8C5-0E5D-AEE0-2FE9-FB157A1A8957}"/>
          </ac:grpSpMkLst>
        </pc:grpChg>
        <pc:picChg chg="mod">
          <ac:chgData name="Lorenzo Negro" userId="f5c1ec43-de79-40b8-82f6-f96ea1916685" providerId="ADAL" clId="{03DDE8F0-7760-6445-82E5-3D78AF516955}" dt="2023-07-20T16:26:21.951" v="1208"/>
          <ac:picMkLst>
            <pc:docMk/>
            <pc:sldMk cId="3798803603" sldId="6896"/>
            <ac:picMk id="13" creationId="{C1C7D75A-0C59-E52E-BF45-33BC7F9D1D5D}"/>
          </ac:picMkLst>
        </pc:picChg>
        <pc:picChg chg="mod">
          <ac:chgData name="Lorenzo Negro" userId="f5c1ec43-de79-40b8-82f6-f96ea1916685" providerId="ADAL" clId="{03DDE8F0-7760-6445-82E5-3D78AF516955}" dt="2023-07-20T16:26:21.951" v="1208"/>
          <ac:picMkLst>
            <pc:docMk/>
            <pc:sldMk cId="3798803603" sldId="6896"/>
            <ac:picMk id="16" creationId="{D14410ED-4883-795A-9164-6E6E93AFFC18}"/>
          </ac:picMkLst>
        </pc:picChg>
        <pc:picChg chg="mod">
          <ac:chgData name="Lorenzo Negro" userId="f5c1ec43-de79-40b8-82f6-f96ea1916685" providerId="ADAL" clId="{03DDE8F0-7760-6445-82E5-3D78AF516955}" dt="2023-07-20T16:26:21.951" v="1208"/>
          <ac:picMkLst>
            <pc:docMk/>
            <pc:sldMk cId="3798803603" sldId="6896"/>
            <ac:picMk id="19" creationId="{B2DB1B10-3AA9-1165-ABB3-906619D7F042}"/>
          </ac:picMkLst>
        </pc:picChg>
        <pc:picChg chg="mod">
          <ac:chgData name="Lorenzo Negro" userId="f5c1ec43-de79-40b8-82f6-f96ea1916685" providerId="ADAL" clId="{03DDE8F0-7760-6445-82E5-3D78AF516955}" dt="2023-07-20T16:26:21.951" v="1208"/>
          <ac:picMkLst>
            <pc:docMk/>
            <pc:sldMk cId="3798803603" sldId="6896"/>
            <ac:picMk id="22" creationId="{E39A4ABE-015F-E06B-340C-5298527EC999}"/>
          </ac:picMkLst>
        </pc:picChg>
        <pc:picChg chg="mod">
          <ac:chgData name="Lorenzo Negro" userId="f5c1ec43-de79-40b8-82f6-f96ea1916685" providerId="ADAL" clId="{03DDE8F0-7760-6445-82E5-3D78AF516955}" dt="2023-07-20T16:26:27.560" v="1210"/>
          <ac:picMkLst>
            <pc:docMk/>
            <pc:sldMk cId="3798803603" sldId="6896"/>
            <ac:picMk id="25" creationId="{7900FDA8-48F2-92C4-73F4-F9B687D21E6B}"/>
          </ac:picMkLst>
        </pc:picChg>
        <pc:picChg chg="mod">
          <ac:chgData name="Lorenzo Negro" userId="f5c1ec43-de79-40b8-82f6-f96ea1916685" providerId="ADAL" clId="{03DDE8F0-7760-6445-82E5-3D78AF516955}" dt="2023-07-20T16:26:27.560" v="1210"/>
          <ac:picMkLst>
            <pc:docMk/>
            <pc:sldMk cId="3798803603" sldId="6896"/>
            <ac:picMk id="40" creationId="{0ACED778-8952-9831-820C-593D3241C683}"/>
          </ac:picMkLst>
        </pc:picChg>
        <pc:picChg chg="mod">
          <ac:chgData name="Lorenzo Negro" userId="f5c1ec43-de79-40b8-82f6-f96ea1916685" providerId="ADAL" clId="{03DDE8F0-7760-6445-82E5-3D78AF516955}" dt="2023-07-20T16:26:27.560" v="1210"/>
          <ac:picMkLst>
            <pc:docMk/>
            <pc:sldMk cId="3798803603" sldId="6896"/>
            <ac:picMk id="45" creationId="{5ADA18A6-1E59-E0A0-8D9A-36A822A3CA48}"/>
          </ac:picMkLst>
        </pc:picChg>
        <pc:picChg chg="mod">
          <ac:chgData name="Lorenzo Negro" userId="f5c1ec43-de79-40b8-82f6-f96ea1916685" providerId="ADAL" clId="{03DDE8F0-7760-6445-82E5-3D78AF516955}" dt="2023-07-20T16:25:15.354" v="1203" actId="208"/>
          <ac:picMkLst>
            <pc:docMk/>
            <pc:sldMk cId="3798803603" sldId="6896"/>
            <ac:picMk id="53" creationId="{40C3148E-D81D-493D-88FE-A690A3DB0391}"/>
          </ac:picMkLst>
        </pc:picChg>
        <pc:picChg chg="mod">
          <ac:chgData name="Lorenzo Negro" userId="f5c1ec43-de79-40b8-82f6-f96ea1916685" providerId="ADAL" clId="{03DDE8F0-7760-6445-82E5-3D78AF516955}" dt="2023-07-20T16:26:27.560" v="1210"/>
          <ac:picMkLst>
            <pc:docMk/>
            <pc:sldMk cId="3798803603" sldId="6896"/>
            <ac:picMk id="55" creationId="{9052AF90-36EC-355C-8648-82329DFD2950}"/>
          </ac:picMkLst>
        </pc:picChg>
      </pc:sldChg>
      <pc:sldChg chg="addSp delSp modSp mod modClrScheme chgLayout">
        <pc:chgData name="Lorenzo Negro" userId="f5c1ec43-de79-40b8-82f6-f96ea1916685" providerId="ADAL" clId="{03DDE8F0-7760-6445-82E5-3D78AF516955}" dt="2023-07-21T09:02:24.780" v="1332" actId="255"/>
        <pc:sldMkLst>
          <pc:docMk/>
          <pc:sldMk cId="352427095" sldId="7090"/>
        </pc:sldMkLst>
        <pc:spChg chg="add del mod ord">
          <ac:chgData name="Lorenzo Negro" userId="f5c1ec43-de79-40b8-82f6-f96ea1916685" providerId="ADAL" clId="{03DDE8F0-7760-6445-82E5-3D78AF516955}" dt="2023-07-21T09:02:05.560" v="1330" actId="478"/>
          <ac:spMkLst>
            <pc:docMk/>
            <pc:sldMk cId="352427095" sldId="7090"/>
            <ac:spMk id="2" creationId="{7888142B-6034-27B5-87B4-6195C1848DA3}"/>
          </ac:spMkLst>
        </pc:spChg>
        <pc:spChg chg="mod ord">
          <ac:chgData name="Lorenzo Negro" userId="f5c1ec43-de79-40b8-82f6-f96ea1916685" providerId="ADAL" clId="{03DDE8F0-7760-6445-82E5-3D78AF516955}" dt="2023-07-21T09:02:02.625" v="1329" actId="700"/>
          <ac:spMkLst>
            <pc:docMk/>
            <pc:sldMk cId="352427095" sldId="7090"/>
            <ac:spMk id="48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1" creationId="{2D75B0F0-B57A-DA4D-9009-65CC42D3266F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2" creationId="{DCBDF591-E234-844B-B00B-FCA1EA69C942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3" creationId="{734ACBE7-8828-B440-9F56-A5A0CBC84272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4" creationId="{9068CD76-83B1-3044-82E8-9682253A8C60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5" creationId="{8370717D-A867-3E40-86AE-61A49F67A265}"/>
          </ac:spMkLst>
        </pc:spChg>
        <pc:spChg chg="mod">
          <ac:chgData name="Lorenzo Negro" userId="f5c1ec43-de79-40b8-82f6-f96ea1916685" providerId="ADAL" clId="{03DDE8F0-7760-6445-82E5-3D78AF516955}" dt="2023-07-21T09:02:24.780" v="1332" actId="255"/>
          <ac:spMkLst>
            <pc:docMk/>
            <pc:sldMk cId="352427095" sldId="7090"/>
            <ac:spMk id="56" creationId="{CD721ECB-8B40-394D-91CD-D93DD66DAF95}"/>
          </ac:spMkLst>
        </pc:spChg>
      </pc:sldChg>
      <pc:sldChg chg="modSp mod">
        <pc:chgData name="Lorenzo Negro" userId="f5c1ec43-de79-40b8-82f6-f96ea1916685" providerId="ADAL" clId="{03DDE8F0-7760-6445-82E5-3D78AF516955}" dt="2023-07-20T07:48:00.656" v="4" actId="207"/>
        <pc:sldMkLst>
          <pc:docMk/>
          <pc:sldMk cId="3347648958" sldId="7131"/>
        </pc:sldMkLst>
        <pc:spChg chg="mod">
          <ac:chgData name="Lorenzo Negro" userId="f5c1ec43-de79-40b8-82f6-f96ea1916685" providerId="ADAL" clId="{03DDE8F0-7760-6445-82E5-3D78AF516955}" dt="2023-07-20T07:48:00.656" v="4" actId="207"/>
          <ac:spMkLst>
            <pc:docMk/>
            <pc:sldMk cId="3347648958" sldId="7131"/>
            <ac:spMk id="3" creationId="{00000000-0000-0000-0000-000000000000}"/>
          </ac:spMkLst>
        </pc:spChg>
      </pc:sldChg>
      <pc:sldChg chg="delSp modSp mod">
        <pc:chgData name="Lorenzo Negro" userId="f5c1ec43-de79-40b8-82f6-f96ea1916685" providerId="ADAL" clId="{03DDE8F0-7760-6445-82E5-3D78AF516955}" dt="2023-07-21T09:09:04.578" v="1376" actId="1036"/>
        <pc:sldMkLst>
          <pc:docMk/>
          <pc:sldMk cId="2077225686" sldId="7140"/>
        </pc:sldMkLst>
        <pc:spChg chg="mod">
          <ac:chgData name="Lorenzo Negro" userId="f5c1ec43-de79-40b8-82f6-f96ea1916685" providerId="ADAL" clId="{03DDE8F0-7760-6445-82E5-3D78AF516955}" dt="2023-07-21T09:08:51.646" v="1369" actId="255"/>
          <ac:spMkLst>
            <pc:docMk/>
            <pc:sldMk cId="2077225686" sldId="7140"/>
            <ac:spMk id="12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1T09:09:02.889" v="1373" actId="1076"/>
          <ac:spMkLst>
            <pc:docMk/>
            <pc:sldMk cId="2077225686" sldId="7140"/>
            <ac:spMk id="24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1T09:09:04.578" v="1376" actId="1036"/>
          <ac:spMkLst>
            <pc:docMk/>
            <pc:sldMk cId="2077225686" sldId="7140"/>
            <ac:spMk id="25" creationId="{00000000-0000-0000-0000-000000000000}"/>
          </ac:spMkLst>
        </pc:spChg>
        <pc:grpChg chg="del">
          <ac:chgData name="Lorenzo Negro" userId="f5c1ec43-de79-40b8-82f6-f96ea1916685" providerId="ADAL" clId="{03DDE8F0-7760-6445-82E5-3D78AF516955}" dt="2023-07-21T08:47:26.420" v="1263" actId="478"/>
          <ac:grpSpMkLst>
            <pc:docMk/>
            <pc:sldMk cId="2077225686" sldId="7140"/>
            <ac:grpSpMk id="10" creationId="{24BA431D-B18C-D241-A0AD-9C98BBA5B421}"/>
          </ac:grpSpMkLst>
        </pc:grpChg>
      </pc:sldChg>
      <pc:sldChg chg="modSp mod">
        <pc:chgData name="Lorenzo Negro" userId="f5c1ec43-de79-40b8-82f6-f96ea1916685" providerId="ADAL" clId="{03DDE8F0-7760-6445-82E5-3D78AF516955}" dt="2023-07-20T08:47:52.303" v="380" actId="207"/>
        <pc:sldMkLst>
          <pc:docMk/>
          <pc:sldMk cId="2426084824" sldId="7159"/>
        </pc:sldMkLst>
        <pc:spChg chg="mod">
          <ac:chgData name="Lorenzo Negro" userId="f5c1ec43-de79-40b8-82f6-f96ea1916685" providerId="ADAL" clId="{03DDE8F0-7760-6445-82E5-3D78AF516955}" dt="2023-07-20T08:47:52.303" v="380" actId="207"/>
          <ac:spMkLst>
            <pc:docMk/>
            <pc:sldMk cId="2426084824" sldId="7159"/>
            <ac:spMk id="79" creationId="{14AB1BE3-0A85-6B41-A78F-9738AC2BCEB7}"/>
          </ac:spMkLst>
        </pc:spChg>
      </pc:sldChg>
      <pc:sldChg chg="modSp mod">
        <pc:chgData name="Lorenzo Negro" userId="f5c1ec43-de79-40b8-82f6-f96ea1916685" providerId="ADAL" clId="{03DDE8F0-7760-6445-82E5-3D78AF516955}" dt="2023-07-21T09:01:08.826" v="1317" actId="208"/>
        <pc:sldMkLst>
          <pc:docMk/>
          <pc:sldMk cId="391323127" sldId="7164"/>
        </pc:sldMkLst>
        <pc:cxnChg chg="mod">
          <ac:chgData name="Lorenzo Negro" userId="f5c1ec43-de79-40b8-82f6-f96ea1916685" providerId="ADAL" clId="{03DDE8F0-7760-6445-82E5-3D78AF516955}" dt="2023-07-21T09:01:08.826" v="1317" actId="208"/>
          <ac:cxnSpMkLst>
            <pc:docMk/>
            <pc:sldMk cId="391323127" sldId="7164"/>
            <ac:cxnSpMk id="35" creationId="{00000000-0000-0000-0000-000000000000}"/>
          </ac:cxnSpMkLst>
        </pc:cxnChg>
        <pc:cxnChg chg="mod">
          <ac:chgData name="Lorenzo Negro" userId="f5c1ec43-de79-40b8-82f6-f96ea1916685" providerId="ADAL" clId="{03DDE8F0-7760-6445-82E5-3D78AF516955}" dt="2023-07-21T09:01:08.826" v="1317" actId="208"/>
          <ac:cxnSpMkLst>
            <pc:docMk/>
            <pc:sldMk cId="391323127" sldId="7164"/>
            <ac:cxnSpMk id="36" creationId="{00000000-0000-0000-0000-000000000000}"/>
          </ac:cxnSpMkLst>
        </pc:cxnChg>
        <pc:cxnChg chg="mod">
          <ac:chgData name="Lorenzo Negro" userId="f5c1ec43-de79-40b8-82f6-f96ea1916685" providerId="ADAL" clId="{03DDE8F0-7760-6445-82E5-3D78AF516955}" dt="2023-07-21T09:01:08.826" v="1317" actId="208"/>
          <ac:cxnSpMkLst>
            <pc:docMk/>
            <pc:sldMk cId="391323127" sldId="7164"/>
            <ac:cxnSpMk id="37" creationId="{00000000-0000-0000-0000-000000000000}"/>
          </ac:cxnSpMkLst>
        </pc:cxnChg>
        <pc:cxnChg chg="mod">
          <ac:chgData name="Lorenzo Negro" userId="f5c1ec43-de79-40b8-82f6-f96ea1916685" providerId="ADAL" clId="{03DDE8F0-7760-6445-82E5-3D78AF516955}" dt="2023-07-21T09:01:08.826" v="1317" actId="208"/>
          <ac:cxnSpMkLst>
            <pc:docMk/>
            <pc:sldMk cId="391323127" sldId="7164"/>
            <ac:cxnSpMk id="43" creationId="{00000000-0000-0000-0000-000000000000}"/>
          </ac:cxnSpMkLst>
        </pc:cxnChg>
      </pc:sldChg>
      <pc:sldChg chg="modSp mod">
        <pc:chgData name="Lorenzo Negro" userId="f5c1ec43-de79-40b8-82f6-f96ea1916685" providerId="ADAL" clId="{03DDE8F0-7760-6445-82E5-3D78AF516955}" dt="2023-07-20T16:24:31.387" v="1202" actId="1076"/>
        <pc:sldMkLst>
          <pc:docMk/>
          <pc:sldMk cId="384428268" sldId="7171"/>
        </pc:sldMkLst>
        <pc:cxnChg chg="mod">
          <ac:chgData name="Lorenzo Negro" userId="f5c1ec43-de79-40b8-82f6-f96ea1916685" providerId="ADAL" clId="{03DDE8F0-7760-6445-82E5-3D78AF516955}" dt="2023-07-20T16:24:31.387" v="1202" actId="1076"/>
          <ac:cxnSpMkLst>
            <pc:docMk/>
            <pc:sldMk cId="384428268" sldId="7171"/>
            <ac:cxnSpMk id="45" creationId="{367F68DC-E764-4443-9677-51411CBEBE58}"/>
          </ac:cxnSpMkLst>
        </pc:cxnChg>
      </pc:sldChg>
      <pc:sldChg chg="delSp modSp mod">
        <pc:chgData name="Lorenzo Negro" userId="f5c1ec43-de79-40b8-82f6-f96ea1916685" providerId="ADAL" clId="{03DDE8F0-7760-6445-82E5-3D78AF516955}" dt="2023-07-21T09:09:10.834" v="1378" actId="1035"/>
        <pc:sldMkLst>
          <pc:docMk/>
          <pc:sldMk cId="968293616" sldId="7175"/>
        </pc:sldMkLst>
        <pc:spChg chg="mod">
          <ac:chgData name="Lorenzo Negro" userId="f5c1ec43-de79-40b8-82f6-f96ea1916685" providerId="ADAL" clId="{03DDE8F0-7760-6445-82E5-3D78AF516955}" dt="2023-07-21T09:07:36.445" v="1358" actId="255"/>
          <ac:spMkLst>
            <pc:docMk/>
            <pc:sldMk cId="968293616" sldId="7175"/>
            <ac:spMk id="10" creationId="{A6B64F35-5342-46FE-9BCF-94C85A9B8B63}"/>
          </ac:spMkLst>
        </pc:spChg>
        <pc:spChg chg="mod">
          <ac:chgData name="Lorenzo Negro" userId="f5c1ec43-de79-40b8-82f6-f96ea1916685" providerId="ADAL" clId="{03DDE8F0-7760-6445-82E5-3D78AF516955}" dt="2023-07-21T09:09:10.834" v="1378" actId="1035"/>
          <ac:spMkLst>
            <pc:docMk/>
            <pc:sldMk cId="968293616" sldId="7175"/>
            <ac:spMk id="15" creationId="{8ED8D72E-38BD-8B4B-B035-9BD76B6CD05C}"/>
          </ac:spMkLst>
        </pc:spChg>
        <pc:grpChg chg="del">
          <ac:chgData name="Lorenzo Negro" userId="f5c1ec43-de79-40b8-82f6-f96ea1916685" providerId="ADAL" clId="{03DDE8F0-7760-6445-82E5-3D78AF516955}" dt="2023-07-21T08:43:20" v="1214" actId="478"/>
          <ac:grpSpMkLst>
            <pc:docMk/>
            <pc:sldMk cId="968293616" sldId="7175"/>
            <ac:grpSpMk id="11" creationId="{00000000-0000-0000-0000-000000000000}"/>
          </ac:grpSpMkLst>
        </pc:grpChg>
      </pc:sldChg>
      <pc:sldChg chg="modSp mod">
        <pc:chgData name="Lorenzo Negro" userId="f5c1ec43-de79-40b8-82f6-f96ea1916685" providerId="ADAL" clId="{03DDE8F0-7760-6445-82E5-3D78AF516955}" dt="2023-07-21T09:07:20.796" v="1356" actId="1037"/>
        <pc:sldMkLst>
          <pc:docMk/>
          <pc:sldMk cId="515095508" sldId="7176"/>
        </pc:sldMkLst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35" creationId="{CA0B4EF0-D69C-4E4B-A437-184D64355236}"/>
          </ac:spMkLst>
        </pc:spChg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41" creationId="{EDBAFA96-77C2-F84D-8F0E-B6988052C783}"/>
          </ac:spMkLst>
        </pc:spChg>
        <pc:spChg chg="mod">
          <ac:chgData name="Lorenzo Negro" userId="f5c1ec43-de79-40b8-82f6-f96ea1916685" providerId="ADAL" clId="{03DDE8F0-7760-6445-82E5-3D78AF516955}" dt="2023-07-21T09:07:20.796" v="1356" actId="1037"/>
          <ac:spMkLst>
            <pc:docMk/>
            <pc:sldMk cId="515095508" sldId="7176"/>
            <ac:spMk id="42" creationId="{42CFBB09-1649-3A42-BBA2-DAF36212625A}"/>
          </ac:spMkLst>
        </pc:spChg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43" creationId="{BB3CAAE5-67EF-E648-89BE-2E548F2FF0D3}"/>
          </ac:spMkLst>
        </pc:spChg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44" creationId="{DAAB859E-1596-564F-A917-2EC29AC190AA}"/>
          </ac:spMkLst>
        </pc:spChg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47" creationId="{A1AF4D8B-E263-204E-BA2C-152CE895C258}"/>
          </ac:spMkLst>
        </pc:spChg>
        <pc:spChg chg="mod">
          <ac:chgData name="Lorenzo Negro" userId="f5c1ec43-de79-40b8-82f6-f96ea1916685" providerId="ADAL" clId="{03DDE8F0-7760-6445-82E5-3D78AF516955}" dt="2023-07-21T09:06:52.576" v="1347" actId="255"/>
          <ac:spMkLst>
            <pc:docMk/>
            <pc:sldMk cId="515095508" sldId="7176"/>
            <ac:spMk id="55" creationId="{A7C9327D-45F9-40CA-8A8B-0029825433D5}"/>
          </ac:spMkLst>
        </pc:spChg>
        <pc:grpChg chg="mod">
          <ac:chgData name="Lorenzo Negro" userId="f5c1ec43-de79-40b8-82f6-f96ea1916685" providerId="ADAL" clId="{03DDE8F0-7760-6445-82E5-3D78AF516955}" dt="2023-07-21T09:07:08.521" v="1352" actId="14100"/>
          <ac:grpSpMkLst>
            <pc:docMk/>
            <pc:sldMk cId="515095508" sldId="7176"/>
            <ac:grpSpMk id="13" creationId="{2CBD3D04-FD22-8E4D-9C7E-33AB080D0D59}"/>
          </ac:grpSpMkLst>
        </pc:grpChg>
      </pc:sldChg>
      <pc:sldChg chg="delSp mod">
        <pc:chgData name="Lorenzo Negro" userId="f5c1ec43-de79-40b8-82f6-f96ea1916685" providerId="ADAL" clId="{03DDE8F0-7760-6445-82E5-3D78AF516955}" dt="2023-07-21T08:43:36.103" v="1217" actId="478"/>
        <pc:sldMkLst>
          <pc:docMk/>
          <pc:sldMk cId="1991137499" sldId="7178"/>
        </pc:sldMkLst>
        <pc:grpChg chg="del">
          <ac:chgData name="Lorenzo Negro" userId="f5c1ec43-de79-40b8-82f6-f96ea1916685" providerId="ADAL" clId="{03DDE8F0-7760-6445-82E5-3D78AF516955}" dt="2023-07-21T08:43:36.103" v="1217" actId="478"/>
          <ac:grpSpMkLst>
            <pc:docMk/>
            <pc:sldMk cId="1991137499" sldId="7178"/>
            <ac:grpSpMk id="19" creationId="{08870935-BCBA-B74C-824D-28D38984055A}"/>
          </ac:grpSpMkLst>
        </pc:grpChg>
      </pc:sldChg>
      <pc:sldChg chg="delSp mod">
        <pc:chgData name="Lorenzo Negro" userId="f5c1ec43-de79-40b8-82f6-f96ea1916685" providerId="ADAL" clId="{03DDE8F0-7760-6445-82E5-3D78AF516955}" dt="2023-07-21T08:43:38.077" v="1218" actId="478"/>
        <pc:sldMkLst>
          <pc:docMk/>
          <pc:sldMk cId="2593010821" sldId="7179"/>
        </pc:sldMkLst>
        <pc:grpChg chg="del">
          <ac:chgData name="Lorenzo Negro" userId="f5c1ec43-de79-40b8-82f6-f96ea1916685" providerId="ADAL" clId="{03DDE8F0-7760-6445-82E5-3D78AF516955}" dt="2023-07-21T08:43:38.077" v="1218" actId="478"/>
          <ac:grpSpMkLst>
            <pc:docMk/>
            <pc:sldMk cId="2593010821" sldId="7179"/>
            <ac:grpSpMk id="21" creationId="{5D5757EF-78EF-4946-BF3C-EC04950D8923}"/>
          </ac:grpSpMkLst>
        </pc:grpChg>
      </pc:sldChg>
      <pc:sldChg chg="delSp modSp mod chgLayout">
        <pc:chgData name="Lorenzo Negro" userId="f5c1ec43-de79-40b8-82f6-f96ea1916685" providerId="ADAL" clId="{03DDE8F0-7760-6445-82E5-3D78AF516955}" dt="2023-07-21T08:45:39.814" v="1256" actId="478"/>
        <pc:sldMkLst>
          <pc:docMk/>
          <pc:sldMk cId="3037911283" sldId="7181"/>
        </pc:sldMkLst>
        <pc:spChg chg="mod ord">
          <ac:chgData name="Lorenzo Negro" userId="f5c1ec43-de79-40b8-82f6-f96ea1916685" providerId="ADAL" clId="{03DDE8F0-7760-6445-82E5-3D78AF516955}" dt="2023-07-20T07:47:04.251" v="0" actId="700"/>
          <ac:spMkLst>
            <pc:docMk/>
            <pc:sldMk cId="3037911283" sldId="7181"/>
            <ac:spMk id="5" creationId="{00000000-0000-0000-0000-000000000000}"/>
          </ac:spMkLst>
        </pc:spChg>
        <pc:grpChg chg="del">
          <ac:chgData name="Lorenzo Negro" userId="f5c1ec43-de79-40b8-82f6-f96ea1916685" providerId="ADAL" clId="{03DDE8F0-7760-6445-82E5-3D78AF516955}" dt="2023-07-21T08:45:39.814" v="1256" actId="478"/>
          <ac:grpSpMkLst>
            <pc:docMk/>
            <pc:sldMk cId="3037911283" sldId="7181"/>
            <ac:grpSpMk id="24" creationId="{6BB543A3-9B85-D14A-A607-B57FD3534BC7}"/>
          </ac:grpSpMkLst>
        </pc:grpChg>
      </pc:sldChg>
      <pc:sldChg chg="delSp modSp mod">
        <pc:chgData name="Lorenzo Negro" userId="f5c1ec43-de79-40b8-82f6-f96ea1916685" providerId="ADAL" clId="{03DDE8F0-7760-6445-82E5-3D78AF516955}" dt="2023-07-21T09:08:40.333" v="1368" actId="14100"/>
        <pc:sldMkLst>
          <pc:docMk/>
          <pc:sldMk cId="2031645693" sldId="7188"/>
        </pc:sldMkLst>
        <pc:spChg chg="mod">
          <ac:chgData name="Lorenzo Negro" userId="f5c1ec43-de79-40b8-82f6-f96ea1916685" providerId="ADAL" clId="{03DDE8F0-7760-6445-82E5-3D78AF516955}" dt="2023-07-21T09:08:40.333" v="1368" actId="14100"/>
          <ac:spMkLst>
            <pc:docMk/>
            <pc:sldMk cId="2031645693" sldId="7188"/>
            <ac:spMk id="10" creationId="{DB6BF201-C536-9147-8CE5-215339D131B9}"/>
          </ac:spMkLst>
        </pc:spChg>
        <pc:grpChg chg="del">
          <ac:chgData name="Lorenzo Negro" userId="f5c1ec43-de79-40b8-82f6-f96ea1916685" providerId="ADAL" clId="{03DDE8F0-7760-6445-82E5-3D78AF516955}" dt="2023-07-21T08:45:36.913" v="1255" actId="478"/>
          <ac:grpSpMkLst>
            <pc:docMk/>
            <pc:sldMk cId="2031645693" sldId="7188"/>
            <ac:grpSpMk id="2" creationId="{D0BC6508-F777-2A17-F1E7-75E32E51206C}"/>
          </ac:grpSpMkLst>
        </pc:grpChg>
      </pc:sldChg>
      <pc:sldChg chg="addSp delSp modSp mod">
        <pc:chgData name="Lorenzo Negro" userId="f5c1ec43-de79-40b8-82f6-f96ea1916685" providerId="ADAL" clId="{03DDE8F0-7760-6445-82E5-3D78AF516955}" dt="2023-07-21T08:45:18.335" v="1253" actId="14100"/>
        <pc:sldMkLst>
          <pc:docMk/>
          <pc:sldMk cId="2089286502" sldId="7190"/>
        </pc:sldMkLst>
        <pc:spChg chg="mod">
          <ac:chgData name="Lorenzo Negro" userId="f5c1ec43-de79-40b8-82f6-f96ea1916685" providerId="ADAL" clId="{03DDE8F0-7760-6445-82E5-3D78AF516955}" dt="2023-07-21T08:44:57.215" v="1245" actId="1076"/>
          <ac:spMkLst>
            <pc:docMk/>
            <pc:sldMk cId="2089286502" sldId="7190"/>
            <ac:spMk id="4" creationId="{3FAC534E-C02E-47C2-8DD3-64A93861069D}"/>
          </ac:spMkLst>
        </pc:spChg>
        <pc:spChg chg="mod">
          <ac:chgData name="Lorenzo Negro" userId="f5c1ec43-de79-40b8-82f6-f96ea1916685" providerId="ADAL" clId="{03DDE8F0-7760-6445-82E5-3D78AF516955}" dt="2023-07-21T08:44:51.003" v="1244" actId="1076"/>
          <ac:spMkLst>
            <pc:docMk/>
            <pc:sldMk cId="2089286502" sldId="7190"/>
            <ac:spMk id="7" creationId="{3F734BF6-7B6F-3D4C-96AA-02174C3FF721}"/>
          </ac:spMkLst>
        </pc:spChg>
        <pc:spChg chg="mod">
          <ac:chgData name="Lorenzo Negro" userId="f5c1ec43-de79-40b8-82f6-f96ea1916685" providerId="ADAL" clId="{03DDE8F0-7760-6445-82E5-3D78AF516955}" dt="2023-07-21T08:44:57.215" v="1245" actId="1076"/>
          <ac:spMkLst>
            <pc:docMk/>
            <pc:sldMk cId="2089286502" sldId="7190"/>
            <ac:spMk id="21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1T08:44:57.215" v="1245" actId="1076"/>
          <ac:spMkLst>
            <pc:docMk/>
            <pc:sldMk cId="2089286502" sldId="7190"/>
            <ac:spMk id="22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1T08:44:57.215" v="1245" actId="1076"/>
          <ac:spMkLst>
            <pc:docMk/>
            <pc:sldMk cId="2089286502" sldId="7190"/>
            <ac:spMk id="51" creationId="{23913321-6506-6188-27FC-65D3498592A5}"/>
          </ac:spMkLst>
        </pc:spChg>
        <pc:grpChg chg="del">
          <ac:chgData name="Lorenzo Negro" userId="f5c1ec43-de79-40b8-82f6-f96ea1916685" providerId="ADAL" clId="{03DDE8F0-7760-6445-82E5-3D78AF516955}" dt="2023-07-21T08:43:41.548" v="1219" actId="478"/>
          <ac:grpSpMkLst>
            <pc:docMk/>
            <pc:sldMk cId="2089286502" sldId="7190"/>
            <ac:grpSpMk id="24" creationId="{6BB543A3-9B85-D14A-A607-B57FD3534BC7}"/>
          </ac:grpSpMkLst>
        </pc:grpChg>
        <pc:grpChg chg="mod">
          <ac:chgData name="Lorenzo Negro" userId="f5c1ec43-de79-40b8-82f6-f96ea1916685" providerId="ADAL" clId="{03DDE8F0-7760-6445-82E5-3D78AF516955}" dt="2023-07-21T08:44:22.685" v="1238" actId="1076"/>
          <ac:grpSpMkLst>
            <pc:docMk/>
            <pc:sldMk cId="2089286502" sldId="7190"/>
            <ac:grpSpMk id="87" creationId="{E38F4E0B-24F7-3A49-CB49-F488B155BD13}"/>
          </ac:grpSpMkLst>
        </pc:grpChg>
        <pc:picChg chg="mod">
          <ac:chgData name="Lorenzo Negro" userId="f5c1ec43-de79-40b8-82f6-f96ea1916685" providerId="ADAL" clId="{03DDE8F0-7760-6445-82E5-3D78AF516955}" dt="2023-07-21T08:44:07.290" v="1232" actId="1038"/>
          <ac:picMkLst>
            <pc:docMk/>
            <pc:sldMk cId="2089286502" sldId="7190"/>
            <ac:picMk id="8" creationId="{098895C3-2C5B-8146-9E8B-14D9CCA925FF}"/>
          </ac:picMkLst>
        </pc:picChg>
        <pc:picChg chg="mod">
          <ac:chgData name="Lorenzo Negro" userId="f5c1ec43-de79-40b8-82f6-f96ea1916685" providerId="ADAL" clId="{03DDE8F0-7760-6445-82E5-3D78AF516955}" dt="2023-07-21T08:44:07.290" v="1232" actId="1038"/>
          <ac:picMkLst>
            <pc:docMk/>
            <pc:sldMk cId="2089286502" sldId="7190"/>
            <ac:picMk id="10" creationId="{095DA35E-722C-7642-B166-B2FA2A737F42}"/>
          </ac:picMkLst>
        </pc:picChg>
        <pc:picChg chg="mod">
          <ac:chgData name="Lorenzo Negro" userId="f5c1ec43-de79-40b8-82f6-f96ea1916685" providerId="ADAL" clId="{03DDE8F0-7760-6445-82E5-3D78AF516955}" dt="2023-07-21T08:44:07.290" v="1232" actId="1038"/>
          <ac:picMkLst>
            <pc:docMk/>
            <pc:sldMk cId="2089286502" sldId="7190"/>
            <ac:picMk id="12" creationId="{01182A7C-096A-B74A-89B5-0E7896AA441B}"/>
          </ac:picMkLst>
        </pc:picChg>
        <pc:picChg chg="mod">
          <ac:chgData name="Lorenzo Negro" userId="f5c1ec43-de79-40b8-82f6-f96ea1916685" providerId="ADAL" clId="{03DDE8F0-7760-6445-82E5-3D78AF516955}" dt="2023-07-21T08:44:07.290" v="1232" actId="1038"/>
          <ac:picMkLst>
            <pc:docMk/>
            <pc:sldMk cId="2089286502" sldId="7190"/>
            <ac:picMk id="81" creationId="{5A2D7DAD-BF1E-B7D5-96C8-49790A5DDD5A}"/>
          </ac:picMkLst>
        </pc:picChg>
        <pc:cxnChg chg="mod">
          <ac:chgData name="Lorenzo Negro" userId="f5c1ec43-de79-40b8-82f6-f96ea1916685" providerId="ADAL" clId="{03DDE8F0-7760-6445-82E5-3D78AF516955}" dt="2023-07-21T08:45:04.964" v="1247" actId="1076"/>
          <ac:cxnSpMkLst>
            <pc:docMk/>
            <pc:sldMk cId="2089286502" sldId="7190"/>
            <ac:cxnSpMk id="16" creationId="{6A8AEEC4-4FB1-B042-4256-E98CF86E7CCA}"/>
          </ac:cxnSpMkLst>
        </pc:cxnChg>
        <pc:cxnChg chg="add mod">
          <ac:chgData name="Lorenzo Negro" userId="f5c1ec43-de79-40b8-82f6-f96ea1916685" providerId="ADAL" clId="{03DDE8F0-7760-6445-82E5-3D78AF516955}" dt="2023-07-21T08:45:18.335" v="1253" actId="14100"/>
          <ac:cxnSpMkLst>
            <pc:docMk/>
            <pc:sldMk cId="2089286502" sldId="7190"/>
            <ac:cxnSpMk id="17" creationId="{CC74AB66-9312-A104-7278-345FFC87E43C}"/>
          </ac:cxnSpMkLst>
        </pc:cxnChg>
        <pc:cxnChg chg="mod">
          <ac:chgData name="Lorenzo Negro" userId="f5c1ec43-de79-40b8-82f6-f96ea1916685" providerId="ADAL" clId="{03DDE8F0-7760-6445-82E5-3D78AF516955}" dt="2023-07-21T08:44:27.242" v="1240" actId="14100"/>
          <ac:cxnSpMkLst>
            <pc:docMk/>
            <pc:sldMk cId="2089286502" sldId="7190"/>
            <ac:cxnSpMk id="32" creationId="{D8E5D626-1B7E-8485-E92B-FDCEE1F26DD7}"/>
          </ac:cxnSpMkLst>
        </pc:cxnChg>
        <pc:cxnChg chg="del">
          <ac:chgData name="Lorenzo Negro" userId="f5c1ec43-de79-40b8-82f6-f96ea1916685" providerId="ADAL" clId="{03DDE8F0-7760-6445-82E5-3D78AF516955}" dt="2023-07-21T08:44:15.996" v="1234" actId="478"/>
          <ac:cxnSpMkLst>
            <pc:docMk/>
            <pc:sldMk cId="2089286502" sldId="7190"/>
            <ac:cxnSpMk id="39" creationId="{18E375F7-051E-DF7A-1AE2-70517DD18898}"/>
          </ac:cxnSpMkLst>
        </pc:cxnChg>
        <pc:cxnChg chg="mod">
          <ac:chgData name="Lorenzo Negro" userId="f5c1ec43-de79-40b8-82f6-f96ea1916685" providerId="ADAL" clId="{03DDE8F0-7760-6445-82E5-3D78AF516955}" dt="2023-07-21T08:44:34.382" v="1242" actId="14100"/>
          <ac:cxnSpMkLst>
            <pc:docMk/>
            <pc:sldMk cId="2089286502" sldId="7190"/>
            <ac:cxnSpMk id="48" creationId="{E15DA4E2-FF6A-2530-12DF-094523ECA1E7}"/>
          </ac:cxnSpMkLst>
        </pc:cxnChg>
        <pc:cxnChg chg="mod">
          <ac:chgData name="Lorenzo Negro" userId="f5c1ec43-de79-40b8-82f6-f96ea1916685" providerId="ADAL" clId="{03DDE8F0-7760-6445-82E5-3D78AF516955}" dt="2023-07-21T08:44:18.639" v="1235" actId="1076"/>
          <ac:cxnSpMkLst>
            <pc:docMk/>
            <pc:sldMk cId="2089286502" sldId="7190"/>
            <ac:cxnSpMk id="56" creationId="{DBE341C5-9DDB-39C1-44C1-5620829A5541}"/>
          </ac:cxnSpMkLst>
        </pc:cxnChg>
        <pc:cxnChg chg="del mod">
          <ac:chgData name="Lorenzo Negro" userId="f5c1ec43-de79-40b8-82f6-f96ea1916685" providerId="ADAL" clId="{03DDE8F0-7760-6445-82E5-3D78AF516955}" dt="2023-07-21T08:45:11.457" v="1250" actId="478"/>
          <ac:cxnSpMkLst>
            <pc:docMk/>
            <pc:sldMk cId="2089286502" sldId="7190"/>
            <ac:cxnSpMk id="57" creationId="{1120AA63-CF2B-0129-A23C-13FFE4DEC2AA}"/>
          </ac:cxnSpMkLst>
        </pc:cxnChg>
        <pc:cxnChg chg="mod">
          <ac:chgData name="Lorenzo Negro" userId="f5c1ec43-de79-40b8-82f6-f96ea1916685" providerId="ADAL" clId="{03DDE8F0-7760-6445-82E5-3D78AF516955}" dt="2023-07-21T08:44:24.877" v="1239" actId="1076"/>
          <ac:cxnSpMkLst>
            <pc:docMk/>
            <pc:sldMk cId="2089286502" sldId="7190"/>
            <ac:cxnSpMk id="59" creationId="{D63F6120-E31B-8F0F-C10C-7D20355F4CD4}"/>
          </ac:cxnSpMkLst>
        </pc:cxnChg>
        <pc:cxnChg chg="mod">
          <ac:chgData name="Lorenzo Negro" userId="f5c1ec43-de79-40b8-82f6-f96ea1916685" providerId="ADAL" clId="{03DDE8F0-7760-6445-82E5-3D78AF516955}" dt="2023-07-21T08:44:30.903" v="1241" actId="14100"/>
          <ac:cxnSpMkLst>
            <pc:docMk/>
            <pc:sldMk cId="2089286502" sldId="7190"/>
            <ac:cxnSpMk id="73" creationId="{C6582A9C-85BE-F273-4B35-CD8D86CF06BA}"/>
          </ac:cxnSpMkLst>
        </pc:cxnChg>
        <pc:cxnChg chg="mod">
          <ac:chgData name="Lorenzo Negro" userId="f5c1ec43-de79-40b8-82f6-f96ea1916685" providerId="ADAL" clId="{03DDE8F0-7760-6445-82E5-3D78AF516955}" dt="2023-07-21T08:44:20.405" v="1236" actId="1076"/>
          <ac:cxnSpMkLst>
            <pc:docMk/>
            <pc:sldMk cId="2089286502" sldId="7190"/>
            <ac:cxnSpMk id="83" creationId="{5480D2A4-A3EF-8405-E23E-B9FECCE5D89C}"/>
          </ac:cxnSpMkLst>
        </pc:cxnChg>
      </pc:sldChg>
      <pc:sldChg chg="addSp delSp modSp mod">
        <pc:chgData name="Lorenzo Negro" userId="f5c1ec43-de79-40b8-82f6-f96ea1916685" providerId="ADAL" clId="{03DDE8F0-7760-6445-82E5-3D78AF516955}" dt="2023-07-21T08:47:54.254" v="1265" actId="1076"/>
        <pc:sldMkLst>
          <pc:docMk/>
          <pc:sldMk cId="3263942942" sldId="7194"/>
        </pc:sldMkLst>
        <pc:spChg chg="del">
          <ac:chgData name="Lorenzo Negro" userId="f5c1ec43-de79-40b8-82f6-f96ea1916685" providerId="ADAL" clId="{03DDE8F0-7760-6445-82E5-3D78AF516955}" dt="2023-07-20T13:57:29.329" v="745" actId="478"/>
          <ac:spMkLst>
            <pc:docMk/>
            <pc:sldMk cId="3263942942" sldId="7194"/>
            <ac:spMk id="6" creationId="{A6037F76-A25F-1842-ABB1-4D2805EF7AAD}"/>
          </ac:spMkLst>
        </pc:spChg>
        <pc:spChg chg="add del mod topLvl">
          <ac:chgData name="Lorenzo Negro" userId="f5c1ec43-de79-40b8-82f6-f96ea1916685" providerId="ADAL" clId="{03DDE8F0-7760-6445-82E5-3D78AF516955}" dt="2023-07-20T13:55:16.194" v="719" actId="207"/>
          <ac:spMkLst>
            <pc:docMk/>
            <pc:sldMk cId="3263942942" sldId="7194"/>
            <ac:spMk id="8" creationId="{40463A4F-20A8-F4E8-C1E0-5D5E8E5EE4C6}"/>
          </ac:spMkLst>
        </pc:spChg>
        <pc:spChg chg="add mod">
          <ac:chgData name="Lorenzo Negro" userId="f5c1ec43-de79-40b8-82f6-f96ea1916685" providerId="ADAL" clId="{03DDE8F0-7760-6445-82E5-3D78AF516955}" dt="2023-07-21T08:47:49.806" v="1264" actId="1076"/>
          <ac:spMkLst>
            <pc:docMk/>
            <pc:sldMk cId="3263942942" sldId="7194"/>
            <ac:spMk id="11" creationId="{ACBE339F-E15C-5DB1-1737-6F8008F1E0BF}"/>
          </ac:spMkLst>
        </pc:spChg>
        <pc:spChg chg="mod">
          <ac:chgData name="Lorenzo Negro" userId="f5c1ec43-de79-40b8-82f6-f96ea1916685" providerId="ADAL" clId="{03DDE8F0-7760-6445-82E5-3D78AF516955}" dt="2023-07-20T13:57:23.209" v="743"/>
          <ac:spMkLst>
            <pc:docMk/>
            <pc:sldMk cId="3263942942" sldId="7194"/>
            <ac:spMk id="14" creationId="{6D7DF250-D397-415B-A50B-9B9AEB02EA04}"/>
          </ac:spMkLst>
        </pc:spChg>
        <pc:spChg chg="add del mod">
          <ac:chgData name="Lorenzo Negro" userId="f5c1ec43-de79-40b8-82f6-f96ea1916685" providerId="ADAL" clId="{03DDE8F0-7760-6445-82E5-3D78AF516955}" dt="2023-07-20T13:57:33.969" v="746" actId="478"/>
          <ac:spMkLst>
            <pc:docMk/>
            <pc:sldMk cId="3263942942" sldId="7194"/>
            <ac:spMk id="16" creationId="{CB776411-0C8B-18D8-7D18-172A108694BA}"/>
          </ac:spMkLst>
        </pc:spChg>
        <pc:spChg chg="mod">
          <ac:chgData name="Lorenzo Negro" userId="f5c1ec43-de79-40b8-82f6-f96ea1916685" providerId="ADAL" clId="{03DDE8F0-7760-6445-82E5-3D78AF516955}" dt="2023-07-20T14:15:02.639" v="861" actId="1035"/>
          <ac:spMkLst>
            <pc:docMk/>
            <pc:sldMk cId="3263942942" sldId="7194"/>
            <ac:spMk id="28" creationId="{73A7861A-90F1-3340-B2A2-7B1D50784806}"/>
          </ac:spMkLst>
        </pc:spChg>
        <pc:spChg chg="mod">
          <ac:chgData name="Lorenzo Negro" userId="f5c1ec43-de79-40b8-82f6-f96ea1916685" providerId="ADAL" clId="{03DDE8F0-7760-6445-82E5-3D78AF516955}" dt="2023-07-20T14:15:02.639" v="861" actId="1035"/>
          <ac:spMkLst>
            <pc:docMk/>
            <pc:sldMk cId="3263942942" sldId="7194"/>
            <ac:spMk id="29" creationId="{F2DC8DFD-16C8-8D48-BF26-F2BF9DA31DB1}"/>
          </ac:spMkLst>
        </pc:spChg>
        <pc:spChg chg="mod">
          <ac:chgData name="Lorenzo Negro" userId="f5c1ec43-de79-40b8-82f6-f96ea1916685" providerId="ADAL" clId="{03DDE8F0-7760-6445-82E5-3D78AF516955}" dt="2023-07-20T14:00:13.603" v="809" actId="1037"/>
          <ac:spMkLst>
            <pc:docMk/>
            <pc:sldMk cId="3263942942" sldId="7194"/>
            <ac:spMk id="36" creationId="{FC331F22-CB2A-E34F-8DD6-38A53732BC35}"/>
          </ac:spMkLst>
        </pc:spChg>
        <pc:spChg chg="mod">
          <ac:chgData name="Lorenzo Negro" userId="f5c1ec43-de79-40b8-82f6-f96ea1916685" providerId="ADAL" clId="{03DDE8F0-7760-6445-82E5-3D78AF516955}" dt="2023-07-21T08:47:49.806" v="1264" actId="1076"/>
          <ac:spMkLst>
            <pc:docMk/>
            <pc:sldMk cId="3263942942" sldId="7194"/>
            <ac:spMk id="41" creationId="{F0ABCEDB-652D-3D47-B5DE-496BF779A5AF}"/>
          </ac:spMkLst>
        </pc:spChg>
        <pc:spChg chg="mod">
          <ac:chgData name="Lorenzo Negro" userId="f5c1ec43-de79-40b8-82f6-f96ea1916685" providerId="ADAL" clId="{03DDE8F0-7760-6445-82E5-3D78AF516955}" dt="2023-07-21T08:47:49.806" v="1264" actId="1076"/>
          <ac:spMkLst>
            <pc:docMk/>
            <pc:sldMk cId="3263942942" sldId="7194"/>
            <ac:spMk id="42" creationId="{1F49E558-524D-9F45-AD9D-960FB424DE0E}"/>
          </ac:spMkLst>
        </pc:spChg>
        <pc:spChg chg="mod">
          <ac:chgData name="Lorenzo Negro" userId="f5c1ec43-de79-40b8-82f6-f96ea1916685" providerId="ADAL" clId="{03DDE8F0-7760-6445-82E5-3D78AF516955}" dt="2023-07-20T14:00:05.543" v="800" actId="1035"/>
          <ac:spMkLst>
            <pc:docMk/>
            <pc:sldMk cId="3263942942" sldId="7194"/>
            <ac:spMk id="48" creationId="{66ADDA20-83D5-3A4A-BE25-CE3E1091D5E9}"/>
          </ac:spMkLst>
        </pc:spChg>
        <pc:spChg chg="mod">
          <ac:chgData name="Lorenzo Negro" userId="f5c1ec43-de79-40b8-82f6-f96ea1916685" providerId="ADAL" clId="{03DDE8F0-7760-6445-82E5-3D78AF516955}" dt="2023-07-20T14:00:05.543" v="800" actId="1035"/>
          <ac:spMkLst>
            <pc:docMk/>
            <pc:sldMk cId="3263942942" sldId="7194"/>
            <ac:spMk id="49" creationId="{3D3E5348-9F8C-A141-A0CB-21E5830C8CD0}"/>
          </ac:spMkLst>
        </pc:spChg>
        <pc:spChg chg="mod">
          <ac:chgData name="Lorenzo Negro" userId="f5c1ec43-de79-40b8-82f6-f96ea1916685" providerId="ADAL" clId="{03DDE8F0-7760-6445-82E5-3D78AF516955}" dt="2023-07-21T08:47:49.806" v="1264" actId="1076"/>
          <ac:spMkLst>
            <pc:docMk/>
            <pc:sldMk cId="3263942942" sldId="7194"/>
            <ac:spMk id="58" creationId="{7A3097D3-2A35-804A-8BDC-3E200E1158EF}"/>
          </ac:spMkLst>
        </pc:spChg>
        <pc:spChg chg="mod">
          <ac:chgData name="Lorenzo Negro" userId="f5c1ec43-de79-40b8-82f6-f96ea1916685" providerId="ADAL" clId="{03DDE8F0-7760-6445-82E5-3D78AF516955}" dt="2023-07-21T08:47:49.806" v="1264" actId="1076"/>
          <ac:spMkLst>
            <pc:docMk/>
            <pc:sldMk cId="3263942942" sldId="7194"/>
            <ac:spMk id="59" creationId="{B93EC203-F48F-034B-B447-8CDED9508628}"/>
          </ac:spMkLst>
        </pc:spChg>
        <pc:grpChg chg="add del mod">
          <ac:chgData name="Lorenzo Negro" userId="f5c1ec43-de79-40b8-82f6-f96ea1916685" providerId="ADAL" clId="{03DDE8F0-7760-6445-82E5-3D78AF516955}" dt="2023-07-20T13:57:22.786" v="742" actId="478"/>
          <ac:grpSpMkLst>
            <pc:docMk/>
            <pc:sldMk cId="3263942942" sldId="7194"/>
            <ac:grpSpMk id="2" creationId="{B556AB95-AAB3-8010-46EC-D72D055F54CE}"/>
          </ac:grpSpMkLst>
        </pc:grpChg>
        <pc:grpChg chg="add mod">
          <ac:chgData name="Lorenzo Negro" userId="f5c1ec43-de79-40b8-82f6-f96ea1916685" providerId="ADAL" clId="{03DDE8F0-7760-6445-82E5-3D78AF516955}" dt="2023-07-20T13:57:46.579" v="748" actId="1076"/>
          <ac:grpSpMkLst>
            <pc:docMk/>
            <pc:sldMk cId="3263942942" sldId="7194"/>
            <ac:grpSpMk id="12" creationId="{D85D2D9E-6701-C89B-601C-F8F1976B8E8B}"/>
          </ac:grpSpMkLst>
        </pc:grpChg>
        <pc:grpChg chg="mod">
          <ac:chgData name="Lorenzo Negro" userId="f5c1ec43-de79-40b8-82f6-f96ea1916685" providerId="ADAL" clId="{03DDE8F0-7760-6445-82E5-3D78AF516955}" dt="2023-07-20T14:15:02.639" v="861" actId="1035"/>
          <ac:grpSpMkLst>
            <pc:docMk/>
            <pc:sldMk cId="3263942942" sldId="7194"/>
            <ac:grpSpMk id="24" creationId="{19DF6A93-FF55-3B4F-98E4-95113017AE6D}"/>
          </ac:grpSpMkLst>
        </pc:grpChg>
        <pc:grpChg chg="mod">
          <ac:chgData name="Lorenzo Negro" userId="f5c1ec43-de79-40b8-82f6-f96ea1916685" providerId="ADAL" clId="{03DDE8F0-7760-6445-82E5-3D78AF516955}" dt="2023-07-20T13:55:36.462" v="721" actId="1076"/>
          <ac:grpSpMkLst>
            <pc:docMk/>
            <pc:sldMk cId="3263942942" sldId="7194"/>
            <ac:grpSpMk id="31" creationId="{61775C3D-F9AB-E444-B6E0-BEB359791851}"/>
          </ac:grpSpMkLst>
        </pc:grpChg>
        <pc:grpChg chg="mod">
          <ac:chgData name="Lorenzo Negro" userId="f5c1ec43-de79-40b8-82f6-f96ea1916685" providerId="ADAL" clId="{03DDE8F0-7760-6445-82E5-3D78AF516955}" dt="2023-07-21T08:47:49.806" v="1264" actId="1076"/>
          <ac:grpSpMkLst>
            <pc:docMk/>
            <pc:sldMk cId="3263942942" sldId="7194"/>
            <ac:grpSpMk id="38" creationId="{FD1A7244-CF76-0F44-85A0-F634F8A2B606}"/>
          </ac:grpSpMkLst>
        </pc:grpChg>
        <pc:grpChg chg="mod">
          <ac:chgData name="Lorenzo Negro" userId="f5c1ec43-de79-40b8-82f6-f96ea1916685" providerId="ADAL" clId="{03DDE8F0-7760-6445-82E5-3D78AF516955}" dt="2023-07-21T08:47:49.806" v="1264" actId="1076"/>
          <ac:grpSpMkLst>
            <pc:docMk/>
            <pc:sldMk cId="3263942942" sldId="7194"/>
            <ac:grpSpMk id="39" creationId="{8F4AD00C-797C-5146-8996-B7603F62FBE6}"/>
          </ac:grpSpMkLst>
        </pc:grpChg>
        <pc:grpChg chg="mod">
          <ac:chgData name="Lorenzo Negro" userId="f5c1ec43-de79-40b8-82f6-f96ea1916685" providerId="ADAL" clId="{03DDE8F0-7760-6445-82E5-3D78AF516955}" dt="2023-07-20T14:00:05.543" v="800" actId="1035"/>
          <ac:grpSpMkLst>
            <pc:docMk/>
            <pc:sldMk cId="3263942942" sldId="7194"/>
            <ac:grpSpMk id="43" creationId="{072C6D8D-73BF-5A45-B570-BFD39C26A603}"/>
          </ac:grpSpMkLst>
        </pc:grpChg>
        <pc:grpChg chg="mod">
          <ac:chgData name="Lorenzo Negro" userId="f5c1ec43-de79-40b8-82f6-f96ea1916685" providerId="ADAL" clId="{03DDE8F0-7760-6445-82E5-3D78AF516955}" dt="2023-07-20T14:00:05.543" v="800" actId="1035"/>
          <ac:grpSpMkLst>
            <pc:docMk/>
            <pc:sldMk cId="3263942942" sldId="7194"/>
            <ac:grpSpMk id="45" creationId="{2FC5B9C6-00A7-E84A-AD69-D204FF68708D}"/>
          </ac:grpSpMkLst>
        </pc:grpChg>
        <pc:grpChg chg="mod">
          <ac:chgData name="Lorenzo Negro" userId="f5c1ec43-de79-40b8-82f6-f96ea1916685" providerId="ADAL" clId="{03DDE8F0-7760-6445-82E5-3D78AF516955}" dt="2023-07-21T08:47:49.806" v="1264" actId="1076"/>
          <ac:grpSpMkLst>
            <pc:docMk/>
            <pc:sldMk cId="3263942942" sldId="7194"/>
            <ac:grpSpMk id="55" creationId="{960D4F63-8112-494F-8B01-9C51388C8AA4}"/>
          </ac:grpSpMkLst>
        </pc:grpChg>
        <pc:grpChg chg="mod">
          <ac:chgData name="Lorenzo Negro" userId="f5c1ec43-de79-40b8-82f6-f96ea1916685" providerId="ADAL" clId="{03DDE8F0-7760-6445-82E5-3D78AF516955}" dt="2023-07-21T08:47:49.806" v="1264" actId="1076"/>
          <ac:grpSpMkLst>
            <pc:docMk/>
            <pc:sldMk cId="3263942942" sldId="7194"/>
            <ac:grpSpMk id="56" creationId="{6D3C267E-D7AD-B645-AB68-C64A289764E2}"/>
          </ac:grpSpMkLst>
        </pc:grpChg>
        <pc:picChg chg="mod">
          <ac:chgData name="Lorenzo Negro" userId="f5c1ec43-de79-40b8-82f6-f96ea1916685" providerId="ADAL" clId="{03DDE8F0-7760-6445-82E5-3D78AF516955}" dt="2023-07-20T14:14:42.179" v="853" actId="1035"/>
          <ac:picMkLst>
            <pc:docMk/>
            <pc:sldMk cId="3263942942" sldId="7194"/>
            <ac:picMk id="5" creationId="{1A621646-F401-45C2-9EFE-4AAC823EFDAE}"/>
          </ac:picMkLst>
        </pc:picChg>
        <pc:picChg chg="mod topLvl modCrop">
          <ac:chgData name="Lorenzo Negro" userId="f5c1ec43-de79-40b8-82f6-f96ea1916685" providerId="ADAL" clId="{03DDE8F0-7760-6445-82E5-3D78AF516955}" dt="2023-07-20T13:53:54.652" v="710" actId="478"/>
          <ac:picMkLst>
            <pc:docMk/>
            <pc:sldMk cId="3263942942" sldId="7194"/>
            <ac:picMk id="7" creationId="{D295ADC4-6169-9E0C-8797-29C74F87D3CF}"/>
          </ac:picMkLst>
        </pc:picChg>
        <pc:picChg chg="del">
          <ac:chgData name="Lorenzo Negro" userId="f5c1ec43-de79-40b8-82f6-f96ea1916685" providerId="ADAL" clId="{03DDE8F0-7760-6445-82E5-3D78AF516955}" dt="2023-07-20T13:51:37.870" v="701" actId="478"/>
          <ac:picMkLst>
            <pc:docMk/>
            <pc:sldMk cId="3263942942" sldId="7194"/>
            <ac:picMk id="10" creationId="{C7027D90-B9A7-024C-A333-E0DB749971F8}"/>
          </ac:picMkLst>
        </pc:picChg>
        <pc:picChg chg="mod">
          <ac:chgData name="Lorenzo Negro" userId="f5c1ec43-de79-40b8-82f6-f96ea1916685" providerId="ADAL" clId="{03DDE8F0-7760-6445-82E5-3D78AF516955}" dt="2023-07-20T13:57:23.209" v="743"/>
          <ac:picMkLst>
            <pc:docMk/>
            <pc:sldMk cId="3263942942" sldId="7194"/>
            <ac:picMk id="13" creationId="{CFDA1BBE-864C-B76A-432F-9EBA7B9A74FF}"/>
          </ac:picMkLst>
        </pc:picChg>
        <pc:picChg chg="mod">
          <ac:chgData name="Lorenzo Negro" userId="f5c1ec43-de79-40b8-82f6-f96ea1916685" providerId="ADAL" clId="{03DDE8F0-7760-6445-82E5-3D78AF516955}" dt="2023-07-20T13:58:01.951" v="756" actId="1037"/>
          <ac:picMkLst>
            <pc:docMk/>
            <pc:sldMk cId="3263942942" sldId="7194"/>
            <ac:picMk id="34" creationId="{43D6F9A0-6B55-DF41-81B6-8675E57F80F0}"/>
          </ac:picMkLst>
        </pc:picChg>
        <pc:picChg chg="mod">
          <ac:chgData name="Lorenzo Negro" userId="f5c1ec43-de79-40b8-82f6-f96ea1916685" providerId="ADAL" clId="{03DDE8F0-7760-6445-82E5-3D78AF516955}" dt="2023-07-21T08:47:49.806" v="1264" actId="1076"/>
          <ac:picMkLst>
            <pc:docMk/>
            <pc:sldMk cId="3263942942" sldId="7194"/>
            <ac:picMk id="40" creationId="{48B4EA71-32B6-9A44-8856-1A612A9079CF}"/>
          </ac:picMkLst>
        </pc:picChg>
        <pc:picChg chg="mod">
          <ac:chgData name="Lorenzo Negro" userId="f5c1ec43-de79-40b8-82f6-f96ea1916685" providerId="ADAL" clId="{03DDE8F0-7760-6445-82E5-3D78AF516955}" dt="2023-07-20T14:00:05.543" v="800" actId="1035"/>
          <ac:picMkLst>
            <pc:docMk/>
            <pc:sldMk cId="3263942942" sldId="7194"/>
            <ac:picMk id="47" creationId="{97AED854-7259-BB47-8CED-96C6DE4DC190}"/>
          </ac:picMkLst>
        </pc:picChg>
        <pc:picChg chg="mod">
          <ac:chgData name="Lorenzo Negro" userId="f5c1ec43-de79-40b8-82f6-f96ea1916685" providerId="ADAL" clId="{03DDE8F0-7760-6445-82E5-3D78AF516955}" dt="2023-07-21T08:47:49.806" v="1264" actId="1076"/>
          <ac:picMkLst>
            <pc:docMk/>
            <pc:sldMk cId="3263942942" sldId="7194"/>
            <ac:picMk id="57" creationId="{E6C6FA84-C967-4A49-943A-69E9FC4277D2}"/>
          </ac:picMkLst>
        </pc:picChg>
        <pc:cxnChg chg="add mod">
          <ac:chgData name="Lorenzo Negro" userId="f5c1ec43-de79-40b8-82f6-f96ea1916685" providerId="ADAL" clId="{03DDE8F0-7760-6445-82E5-3D78AF516955}" dt="2023-07-21T08:47:54.254" v="1265" actId="1076"/>
          <ac:cxnSpMkLst>
            <pc:docMk/>
            <pc:sldMk cId="3263942942" sldId="7194"/>
            <ac:cxnSpMk id="17" creationId="{787D86D9-FCC0-7730-436F-838DA516CF7E}"/>
          </ac:cxnSpMkLst>
        </pc:cxnChg>
      </pc:sldChg>
      <pc:sldChg chg="addSp delSp modSp del mod modClrScheme chgLayout">
        <pc:chgData name="Lorenzo Negro" userId="f5c1ec43-de79-40b8-82f6-f96ea1916685" providerId="ADAL" clId="{03DDE8F0-7760-6445-82E5-3D78AF516955}" dt="2023-07-27T11:55:30.513" v="2028" actId="2696"/>
        <pc:sldMkLst>
          <pc:docMk/>
          <pc:sldMk cId="2357197756" sldId="2147469224"/>
        </pc:sldMkLst>
        <pc:spChg chg="add del mod ord">
          <ac:chgData name="Lorenzo Negro" userId="f5c1ec43-de79-40b8-82f6-f96ea1916685" providerId="ADAL" clId="{03DDE8F0-7760-6445-82E5-3D78AF516955}" dt="2023-07-24T12:25:05.826" v="1973" actId="478"/>
          <ac:spMkLst>
            <pc:docMk/>
            <pc:sldMk cId="2357197756" sldId="2147469224"/>
            <ac:spMk id="2" creationId="{1A5EE8BD-D092-0484-E068-A6FDB1B42F37}"/>
          </ac:spMkLst>
        </pc:spChg>
        <pc:spChg chg="mod ord">
          <ac:chgData name="Lorenzo Negro" userId="f5c1ec43-de79-40b8-82f6-f96ea1916685" providerId="ADAL" clId="{03DDE8F0-7760-6445-82E5-3D78AF516955}" dt="2023-07-24T12:25:03.395" v="1972" actId="700"/>
          <ac:spMkLst>
            <pc:docMk/>
            <pc:sldMk cId="2357197756" sldId="2147469224"/>
            <ac:spMk id="3" creationId="{90271FCA-9855-01AF-406C-7014A5D83F00}"/>
          </ac:spMkLst>
        </pc:spChg>
        <pc:spChg chg="mod">
          <ac:chgData name="Lorenzo Negro" userId="f5c1ec43-de79-40b8-82f6-f96ea1916685" providerId="ADAL" clId="{03DDE8F0-7760-6445-82E5-3D78AF516955}" dt="2023-07-24T15:13:27.291" v="1992" actId="1076"/>
          <ac:spMkLst>
            <pc:docMk/>
            <pc:sldMk cId="2357197756" sldId="2147469224"/>
            <ac:spMk id="4" creationId="{D746BEB9-B347-48D8-B98E-CD692781D7C8}"/>
          </ac:spMkLst>
        </pc:spChg>
        <pc:spChg chg="add del mod">
          <ac:chgData name="Lorenzo Negro" userId="f5c1ec43-de79-40b8-82f6-f96ea1916685" providerId="ADAL" clId="{03DDE8F0-7760-6445-82E5-3D78AF516955}" dt="2023-07-24T15:16:36.889" v="1999" actId="767"/>
          <ac:spMkLst>
            <pc:docMk/>
            <pc:sldMk cId="2357197756" sldId="2147469224"/>
            <ac:spMk id="5" creationId="{1867CD3E-D53F-0FC6-0E70-11E76C08561C}"/>
          </ac:spMkLst>
        </pc:spChg>
        <pc:picChg chg="mod">
          <ac:chgData name="Lorenzo Negro" userId="f5c1ec43-de79-40b8-82f6-f96ea1916685" providerId="ADAL" clId="{03DDE8F0-7760-6445-82E5-3D78AF516955}" dt="2023-07-24T15:21:35.864" v="2003" actId="1076"/>
          <ac:picMkLst>
            <pc:docMk/>
            <pc:sldMk cId="2357197756" sldId="2147469224"/>
            <ac:picMk id="10" creationId="{4EB3B609-4B39-47A5-9D72-E6B6D7D16FE6}"/>
          </ac:picMkLst>
        </pc:picChg>
        <pc:picChg chg="mod">
          <ac:chgData name="Lorenzo Negro" userId="f5c1ec43-de79-40b8-82f6-f96ea1916685" providerId="ADAL" clId="{03DDE8F0-7760-6445-82E5-3D78AF516955}" dt="2023-07-24T15:21:36.425" v="2004" actId="14100"/>
          <ac:picMkLst>
            <pc:docMk/>
            <pc:sldMk cId="2357197756" sldId="2147469224"/>
            <ac:picMk id="1034" creationId="{B60AEBB7-D190-4D5D-9628-9E96D773866A}"/>
          </ac:picMkLst>
        </pc:picChg>
      </pc:sldChg>
      <pc:sldChg chg="addSp delSp modSp mod modClrScheme chgLayout">
        <pc:chgData name="Lorenzo Negro" userId="f5c1ec43-de79-40b8-82f6-f96ea1916685" providerId="ADAL" clId="{03DDE8F0-7760-6445-82E5-3D78AF516955}" dt="2023-07-24T12:25:22.993" v="1975" actId="478"/>
        <pc:sldMkLst>
          <pc:docMk/>
          <pc:sldMk cId="3764745504" sldId="2147469225"/>
        </pc:sldMkLst>
        <pc:spChg chg="add del mod ord">
          <ac:chgData name="Lorenzo Negro" userId="f5c1ec43-de79-40b8-82f6-f96ea1916685" providerId="ADAL" clId="{03DDE8F0-7760-6445-82E5-3D78AF516955}" dt="2023-07-24T12:25:22.993" v="1975" actId="478"/>
          <ac:spMkLst>
            <pc:docMk/>
            <pc:sldMk cId="3764745504" sldId="2147469225"/>
            <ac:spMk id="4" creationId="{7A469137-AA3F-27FF-5ECD-D12940C6EBB1}"/>
          </ac:spMkLst>
        </pc:spChg>
        <pc:spChg chg="mod ord">
          <ac:chgData name="Lorenzo Negro" userId="f5c1ec43-de79-40b8-82f6-f96ea1916685" providerId="ADAL" clId="{03DDE8F0-7760-6445-82E5-3D78AF516955}" dt="2023-07-24T12:25:20.264" v="1974" actId="700"/>
          <ac:spMkLst>
            <pc:docMk/>
            <pc:sldMk cId="3764745504" sldId="2147469225"/>
            <ac:spMk id="6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9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27" creationId="{3B1D8E64-2505-4015-A9C6-D127370E8BF8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28" creationId="{942B56DC-0C36-4FB7-835D-762B78524D4A}"/>
          </ac:spMkLst>
        </pc:spChg>
        <pc:spChg chg="mod">
          <ac:chgData name="Lorenzo Negro" userId="f5c1ec43-de79-40b8-82f6-f96ea1916685" providerId="ADAL" clId="{03DDE8F0-7760-6445-82E5-3D78AF516955}" dt="2023-07-20T08:45:05.819" v="366" actId="20577"/>
          <ac:spMkLst>
            <pc:docMk/>
            <pc:sldMk cId="3764745504" sldId="2147469225"/>
            <ac:spMk id="32" creationId="{F3F40F8D-A681-4476-BB38-B872AC0F555A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44" creationId="{FBABE09A-4D3A-4A41-890D-B0CE8AD92C5D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45" creationId="{2453D703-4B94-4BF3-AA45-C3290BD6EBA0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50" creationId="{FBABE09A-4D3A-4A41-890D-B0CE8AD92C5D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51" creationId="{2453D703-4B94-4BF3-AA45-C3290BD6EBA0}"/>
          </ac:spMkLst>
        </pc:spChg>
        <pc:spChg chg="mod">
          <ac:chgData name="Lorenzo Negro" userId="f5c1ec43-de79-40b8-82f6-f96ea1916685" providerId="ADAL" clId="{03DDE8F0-7760-6445-82E5-3D78AF516955}" dt="2023-07-20T08:46:46.404" v="379" actId="1076"/>
          <ac:spMkLst>
            <pc:docMk/>
            <pc:sldMk cId="3764745504" sldId="2147469225"/>
            <ac:spMk id="52" creationId="{2453D703-4B94-4BF3-AA45-C3290BD6EBA0}"/>
          </ac:spMkLst>
        </pc:spChg>
        <pc:cxnChg chg="add mod">
          <ac:chgData name="Lorenzo Negro" userId="f5c1ec43-de79-40b8-82f6-f96ea1916685" providerId="ADAL" clId="{03DDE8F0-7760-6445-82E5-3D78AF516955}" dt="2023-07-20T08:45:11.741" v="368" actId="1076"/>
          <ac:cxnSpMkLst>
            <pc:docMk/>
            <pc:sldMk cId="3764745504" sldId="2147469225"/>
            <ac:cxnSpMk id="2" creationId="{024CEFA7-EBA2-9226-E775-E84A068CF3BB}"/>
          </ac:cxnSpMkLst>
        </pc:cxnChg>
        <pc:cxnChg chg="add mod">
          <ac:chgData name="Lorenzo Negro" userId="f5c1ec43-de79-40b8-82f6-f96ea1916685" providerId="ADAL" clId="{03DDE8F0-7760-6445-82E5-3D78AF516955}" dt="2023-07-20T08:45:09.014" v="367" actId="1076"/>
          <ac:cxnSpMkLst>
            <pc:docMk/>
            <pc:sldMk cId="3764745504" sldId="2147469225"/>
            <ac:cxnSpMk id="3" creationId="{DD5E77F4-D574-ED39-69BC-34C8820C9807}"/>
          </ac:cxnSpMkLst>
        </pc:cxnChg>
        <pc:cxnChg chg="mod">
          <ac:chgData name="Lorenzo Negro" userId="f5c1ec43-de79-40b8-82f6-f96ea1916685" providerId="ADAL" clId="{03DDE8F0-7760-6445-82E5-3D78AF516955}" dt="2023-07-20T08:46:46.404" v="379" actId="1076"/>
          <ac:cxnSpMkLst>
            <pc:docMk/>
            <pc:sldMk cId="3764745504" sldId="2147469225"/>
            <ac:cxnSpMk id="26" creationId="{DC55A217-3FAA-427D-8EC6-2D9DDE71237B}"/>
          </ac:cxnSpMkLst>
        </pc:cxnChg>
        <pc:cxnChg chg="mod">
          <ac:chgData name="Lorenzo Negro" userId="f5c1ec43-de79-40b8-82f6-f96ea1916685" providerId="ADAL" clId="{03DDE8F0-7760-6445-82E5-3D78AF516955}" dt="2023-07-20T08:46:46.404" v="379" actId="1076"/>
          <ac:cxnSpMkLst>
            <pc:docMk/>
            <pc:sldMk cId="3764745504" sldId="2147469225"/>
            <ac:cxnSpMk id="57" creationId="{876C6D9F-3818-40E9-9C98-42C7F6B34A4A}"/>
          </ac:cxnSpMkLst>
        </pc:cxnChg>
        <pc:cxnChg chg="mod">
          <ac:chgData name="Lorenzo Negro" userId="f5c1ec43-de79-40b8-82f6-f96ea1916685" providerId="ADAL" clId="{03DDE8F0-7760-6445-82E5-3D78AF516955}" dt="2023-07-20T08:46:46.404" v="379" actId="1076"/>
          <ac:cxnSpMkLst>
            <pc:docMk/>
            <pc:sldMk cId="3764745504" sldId="2147469225"/>
            <ac:cxnSpMk id="58" creationId="{876C6D9F-3818-40E9-9C98-42C7F6B34A4A}"/>
          </ac:cxnSpMkLst>
        </pc:cxnChg>
      </pc:sldChg>
      <pc:sldChg chg="addSp delSp modSp mod modClrScheme chgLayout">
        <pc:chgData name="Lorenzo Negro" userId="f5c1ec43-de79-40b8-82f6-f96ea1916685" providerId="ADAL" clId="{03DDE8F0-7760-6445-82E5-3D78AF516955}" dt="2023-07-27T12:42:55.655" v="2064" actId="1035"/>
        <pc:sldMkLst>
          <pc:docMk/>
          <pc:sldMk cId="743372805" sldId="2147469229"/>
        </pc:sldMkLst>
        <pc:spChg chg="add del mod ord">
          <ac:chgData name="Lorenzo Negro" userId="f5c1ec43-de79-40b8-82f6-f96ea1916685" providerId="ADAL" clId="{03DDE8F0-7760-6445-82E5-3D78AF516955}" dt="2023-07-24T12:24:58.550" v="1971" actId="478"/>
          <ac:spMkLst>
            <pc:docMk/>
            <pc:sldMk cId="743372805" sldId="2147469229"/>
            <ac:spMk id="2" creationId="{33273317-938F-6359-64C4-3E75AA0AD2E3}"/>
          </ac:spMkLst>
        </pc:spChg>
        <pc:spChg chg="mod ord">
          <ac:chgData name="Lorenzo Negro" userId="f5c1ec43-de79-40b8-82f6-f96ea1916685" providerId="ADAL" clId="{03DDE8F0-7760-6445-82E5-3D78AF516955}" dt="2023-07-24T12:24:55.671" v="1970" actId="700"/>
          <ac:spMkLst>
            <pc:docMk/>
            <pc:sldMk cId="743372805" sldId="2147469229"/>
            <ac:spMk id="3" creationId="{90271FCA-9855-01AF-406C-7014A5D83F00}"/>
          </ac:spMkLst>
        </pc:spChg>
        <pc:spChg chg="mod">
          <ac:chgData name="Lorenzo Negro" userId="f5c1ec43-de79-40b8-82f6-f96ea1916685" providerId="ADAL" clId="{03DDE8F0-7760-6445-82E5-3D78AF516955}" dt="2023-07-27T11:56:56.782" v="2044" actId="1076"/>
          <ac:spMkLst>
            <pc:docMk/>
            <pc:sldMk cId="743372805" sldId="2147469229"/>
            <ac:spMk id="4" creationId="{D746BEB9-B347-48D8-B98E-CD692781D7C8}"/>
          </ac:spMkLst>
        </pc:spChg>
        <pc:picChg chg="mod">
          <ac:chgData name="Lorenzo Negro" userId="f5c1ec43-de79-40b8-82f6-f96ea1916685" providerId="ADAL" clId="{03DDE8F0-7760-6445-82E5-3D78AF516955}" dt="2023-07-27T12:42:23.383" v="2052" actId="14826"/>
          <ac:picMkLst>
            <pc:docMk/>
            <pc:sldMk cId="743372805" sldId="2147469229"/>
            <ac:picMk id="5" creationId="{C0C73A15-9361-4B9F-9DBA-DCFA46E38545}"/>
          </ac:picMkLst>
        </pc:picChg>
        <pc:picChg chg="mod">
          <ac:chgData name="Lorenzo Negro" userId="f5c1ec43-de79-40b8-82f6-f96ea1916685" providerId="ADAL" clId="{03DDE8F0-7760-6445-82E5-3D78AF516955}" dt="2023-07-27T12:42:46.499" v="2059" actId="1076"/>
          <ac:picMkLst>
            <pc:docMk/>
            <pc:sldMk cId="743372805" sldId="2147469229"/>
            <ac:picMk id="6" creationId="{C0EDCEDF-49B9-4866-94BD-1BB37DCC2C80}"/>
          </ac:picMkLst>
        </pc:picChg>
        <pc:picChg chg="mod">
          <ac:chgData name="Lorenzo Negro" userId="f5c1ec43-de79-40b8-82f6-f96ea1916685" providerId="ADAL" clId="{03DDE8F0-7760-6445-82E5-3D78AF516955}" dt="2023-07-27T12:42:55.655" v="2064" actId="1035"/>
          <ac:picMkLst>
            <pc:docMk/>
            <pc:sldMk cId="743372805" sldId="2147469229"/>
            <ac:picMk id="1032" creationId="{1F9BC7DD-396B-48A1-9ABA-B09626ECEB00}"/>
          </ac:picMkLst>
        </pc:picChg>
      </pc:sldChg>
      <pc:sldChg chg="addSp modSp del mod">
        <pc:chgData name="Lorenzo Negro" userId="f5c1ec43-de79-40b8-82f6-f96ea1916685" providerId="ADAL" clId="{03DDE8F0-7760-6445-82E5-3D78AF516955}" dt="2023-07-21T11:27:26.436" v="1949" actId="2696"/>
        <pc:sldMkLst>
          <pc:docMk/>
          <pc:sldMk cId="1498388900" sldId="2147469230"/>
        </pc:sldMkLst>
        <pc:spChg chg="mod">
          <ac:chgData name="Lorenzo Negro" userId="f5c1ec43-de79-40b8-82f6-f96ea1916685" providerId="ADAL" clId="{03DDE8F0-7760-6445-82E5-3D78AF516955}" dt="2023-07-21T09:13:13.133" v="1382" actId="404"/>
          <ac:spMkLst>
            <pc:docMk/>
            <pc:sldMk cId="1498388900" sldId="2147469230"/>
            <ac:spMk id="4" creationId="{D746BEB9-B347-48D8-B98E-CD692781D7C8}"/>
          </ac:spMkLst>
        </pc:spChg>
        <pc:spChg chg="mod">
          <ac:chgData name="Lorenzo Negro" userId="f5c1ec43-de79-40b8-82f6-f96ea1916685" providerId="ADAL" clId="{03DDE8F0-7760-6445-82E5-3D78AF516955}" dt="2023-07-21T09:13:13.133" v="1382" actId="404"/>
          <ac:spMkLst>
            <pc:docMk/>
            <pc:sldMk cId="1498388900" sldId="2147469230"/>
            <ac:spMk id="26" creationId="{BCA2836A-BD34-44E5-834D-61BA07F77D2D}"/>
          </ac:spMkLst>
        </pc:spChg>
        <pc:spChg chg="mod">
          <ac:chgData name="Lorenzo Negro" userId="f5c1ec43-de79-40b8-82f6-f96ea1916685" providerId="ADAL" clId="{03DDE8F0-7760-6445-82E5-3D78AF516955}" dt="2023-07-21T09:13:13.133" v="1382" actId="404"/>
          <ac:spMkLst>
            <pc:docMk/>
            <pc:sldMk cId="1498388900" sldId="2147469230"/>
            <ac:spMk id="34" creationId="{8121FA30-FA62-4700-B09A-50179B9955C3}"/>
          </ac:spMkLst>
        </pc:spChg>
        <pc:grpChg chg="add mod">
          <ac:chgData name="Lorenzo Negro" userId="f5c1ec43-de79-40b8-82f6-f96ea1916685" providerId="ADAL" clId="{03DDE8F0-7760-6445-82E5-3D78AF516955}" dt="2023-07-21T09:13:58.879" v="1387" actId="14100"/>
          <ac:grpSpMkLst>
            <pc:docMk/>
            <pc:sldMk cId="1498388900" sldId="2147469230"/>
            <ac:grpSpMk id="2" creationId="{AA820E92-6BCF-B7A2-900E-611656B0C2E0}"/>
          </ac:grpSpMkLst>
        </pc:grpChg>
        <pc:graphicFrameChg chg="add mod">
          <ac:chgData name="Lorenzo Negro" userId="f5c1ec43-de79-40b8-82f6-f96ea1916685" providerId="ADAL" clId="{03DDE8F0-7760-6445-82E5-3D78AF516955}" dt="2023-07-21T10:45:38.871" v="1901" actId="14100"/>
          <ac:graphicFrameMkLst>
            <pc:docMk/>
            <pc:sldMk cId="1498388900" sldId="2147469230"/>
            <ac:graphicFrameMk id="5" creationId="{E9C0D707-0F26-93B4-01E4-973085767AAD}"/>
          </ac:graphicFrameMkLst>
        </pc:graphicFrame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6" creationId="{7039AF4C-6A7E-43F6-A93D-97A4952015B9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9" creationId="{9B171898-48F2-44E5-ACF1-81019C8648E0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11" creationId="{83872681-37B2-4BB5-9A9E-13838BC9E6AB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13" creationId="{2F595316-73A1-4EC2-9D1D-A3654766CACD}"/>
          </ac:picMkLst>
        </pc:picChg>
        <pc:picChg chg="mod">
          <ac:chgData name="Lorenzo Negro" userId="f5c1ec43-de79-40b8-82f6-f96ea1916685" providerId="ADAL" clId="{03DDE8F0-7760-6445-82E5-3D78AF516955}" dt="2023-07-21T09:14:39.900" v="1388" actId="1035"/>
          <ac:picMkLst>
            <pc:docMk/>
            <pc:sldMk cId="1498388900" sldId="2147469230"/>
            <ac:picMk id="15" creationId="{BFA8132E-D0D7-460C-ADFA-37210356BFF4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17" creationId="{6168B026-05B6-4791-80C0-4AD821AFE41D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19" creationId="{B82B1067-3473-4B5D-BCFC-EFD09E41FFC4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21" creationId="{F85EDB8E-524A-46C3-AB89-30DE9799FAA9}"/>
          </ac:picMkLst>
        </pc:picChg>
        <pc:picChg chg="mod">
          <ac:chgData name="Lorenzo Negro" userId="f5c1ec43-de79-40b8-82f6-f96ea1916685" providerId="ADAL" clId="{03DDE8F0-7760-6445-82E5-3D78AF516955}" dt="2023-07-21T09:13:49.340" v="1386" actId="164"/>
          <ac:picMkLst>
            <pc:docMk/>
            <pc:sldMk cId="1498388900" sldId="2147469230"/>
            <ac:picMk id="23" creationId="{69A89650-F41B-4CA5-964A-BBB8D1A02C0F}"/>
          </ac:picMkLst>
        </pc:picChg>
        <pc:picChg chg="mod">
          <ac:chgData name="Lorenzo Negro" userId="f5c1ec43-de79-40b8-82f6-f96ea1916685" providerId="ADAL" clId="{03DDE8F0-7760-6445-82E5-3D78AF516955}" dt="2023-07-21T09:13:30.576" v="1384" actId="1076"/>
          <ac:picMkLst>
            <pc:docMk/>
            <pc:sldMk cId="1498388900" sldId="2147469230"/>
            <ac:picMk id="2050" creationId="{D1D27799-C5A8-4760-8B4C-FFFE9AA45B67}"/>
          </ac:picMkLst>
        </pc:picChg>
      </pc:sldChg>
      <pc:sldChg chg="addSp delSp modSp mod">
        <pc:chgData name="Lorenzo Negro" userId="f5c1ec43-de79-40b8-82f6-f96ea1916685" providerId="ADAL" clId="{03DDE8F0-7760-6445-82E5-3D78AF516955}" dt="2023-07-20T14:01:29.356" v="824" actId="14100"/>
        <pc:sldMkLst>
          <pc:docMk/>
          <pc:sldMk cId="471085012" sldId="2147469231"/>
        </pc:sldMkLst>
        <pc:spChg chg="mod">
          <ac:chgData name="Lorenzo Negro" userId="f5c1ec43-de79-40b8-82f6-f96ea1916685" providerId="ADAL" clId="{03DDE8F0-7760-6445-82E5-3D78AF516955}" dt="2023-07-20T13:03:59.566" v="680" actId="1076"/>
          <ac:spMkLst>
            <pc:docMk/>
            <pc:sldMk cId="471085012" sldId="2147469231"/>
            <ac:spMk id="29" creationId="{9E83E6C1-C52B-4940-BAD1-CC6C1D25189B}"/>
          </ac:spMkLst>
        </pc:spChg>
        <pc:spChg chg="mod">
          <ac:chgData name="Lorenzo Negro" userId="f5c1ec43-de79-40b8-82f6-f96ea1916685" providerId="ADAL" clId="{03DDE8F0-7760-6445-82E5-3D78AF516955}" dt="2023-07-20T13:03:53.360" v="679" actId="1076"/>
          <ac:spMkLst>
            <pc:docMk/>
            <pc:sldMk cId="471085012" sldId="2147469231"/>
            <ac:spMk id="30" creationId="{D01F47FB-9E03-42B6-9C94-37449636DA21}"/>
          </ac:spMkLst>
        </pc:spChg>
        <pc:spChg chg="mod">
          <ac:chgData name="Lorenzo Negro" userId="f5c1ec43-de79-40b8-82f6-f96ea1916685" providerId="ADAL" clId="{03DDE8F0-7760-6445-82E5-3D78AF516955}" dt="2023-07-20T13:03:47.458" v="678" actId="1076"/>
          <ac:spMkLst>
            <pc:docMk/>
            <pc:sldMk cId="471085012" sldId="2147469231"/>
            <ac:spMk id="32" creationId="{8A11606A-A347-4CE8-9442-1A24D26D174F}"/>
          </ac:spMkLst>
        </pc:spChg>
        <pc:spChg chg="mod">
          <ac:chgData name="Lorenzo Negro" userId="f5c1ec43-de79-40b8-82f6-f96ea1916685" providerId="ADAL" clId="{03DDE8F0-7760-6445-82E5-3D78AF516955}" dt="2023-07-20T13:03:59.566" v="680" actId="1076"/>
          <ac:spMkLst>
            <pc:docMk/>
            <pc:sldMk cId="471085012" sldId="2147469231"/>
            <ac:spMk id="33" creationId="{9CD9D0EB-D8BC-4AC9-9F00-0CBB7684D5B4}"/>
          </ac:spMkLst>
        </pc:spChg>
        <pc:spChg chg="mod">
          <ac:chgData name="Lorenzo Negro" userId="f5c1ec43-de79-40b8-82f6-f96ea1916685" providerId="ADAL" clId="{03DDE8F0-7760-6445-82E5-3D78AF516955}" dt="2023-07-20T13:03:53.360" v="679" actId="1076"/>
          <ac:spMkLst>
            <pc:docMk/>
            <pc:sldMk cId="471085012" sldId="2147469231"/>
            <ac:spMk id="35" creationId="{0FDB2195-1A58-4825-8353-484F84B0744E}"/>
          </ac:spMkLst>
        </pc:spChg>
        <pc:spChg chg="mod">
          <ac:chgData name="Lorenzo Negro" userId="f5c1ec43-de79-40b8-82f6-f96ea1916685" providerId="ADAL" clId="{03DDE8F0-7760-6445-82E5-3D78AF516955}" dt="2023-07-20T13:03:47.458" v="678" actId="1076"/>
          <ac:spMkLst>
            <pc:docMk/>
            <pc:sldMk cId="471085012" sldId="2147469231"/>
            <ac:spMk id="36" creationId="{800F14FD-EF4D-41C5-8D02-47F3487676C5}"/>
          </ac:spMkLst>
        </pc:spChg>
        <pc:spChg chg="mod">
          <ac:chgData name="Lorenzo Negro" userId="f5c1ec43-de79-40b8-82f6-f96ea1916685" providerId="ADAL" clId="{03DDE8F0-7760-6445-82E5-3D78AF516955}" dt="2023-07-20T13:04:13.399" v="682" actId="1076"/>
          <ac:spMkLst>
            <pc:docMk/>
            <pc:sldMk cId="471085012" sldId="2147469231"/>
            <ac:spMk id="43" creationId="{370DABCB-D5BC-44AC-A193-1AE884B86B50}"/>
          </ac:spMkLst>
        </pc:spChg>
        <pc:spChg chg="mod">
          <ac:chgData name="Lorenzo Negro" userId="f5c1ec43-de79-40b8-82f6-f96ea1916685" providerId="ADAL" clId="{03DDE8F0-7760-6445-82E5-3D78AF516955}" dt="2023-07-20T13:04:13.399" v="682" actId="1076"/>
          <ac:spMkLst>
            <pc:docMk/>
            <pc:sldMk cId="471085012" sldId="2147469231"/>
            <ac:spMk id="53" creationId="{3ED0C25D-7B30-4434-B32B-906166AB3C97}"/>
          </ac:spMkLst>
        </pc:spChg>
        <pc:spChg chg="mod">
          <ac:chgData name="Lorenzo Negro" userId="f5c1ec43-de79-40b8-82f6-f96ea1916685" providerId="ADAL" clId="{03DDE8F0-7760-6445-82E5-3D78AF516955}" dt="2023-07-20T14:01:14.481" v="822" actId="1076"/>
          <ac:spMkLst>
            <pc:docMk/>
            <pc:sldMk cId="471085012" sldId="2147469231"/>
            <ac:spMk id="54" creationId="{E5A04700-04BB-46E0-ABEF-8C4EF56F1C6B}"/>
          </ac:spMkLst>
        </pc:spChg>
        <pc:spChg chg="mod">
          <ac:chgData name="Lorenzo Negro" userId="f5c1ec43-de79-40b8-82f6-f96ea1916685" providerId="ADAL" clId="{03DDE8F0-7760-6445-82E5-3D78AF516955}" dt="2023-07-20T13:04:13.399" v="682" actId="1076"/>
          <ac:spMkLst>
            <pc:docMk/>
            <pc:sldMk cId="471085012" sldId="2147469231"/>
            <ac:spMk id="55" creationId="{DD5D2A73-5223-43BE-A25E-89408935134A}"/>
          </ac:spMkLst>
        </pc:spChg>
        <pc:spChg chg="mod">
          <ac:chgData name="Lorenzo Negro" userId="f5c1ec43-de79-40b8-82f6-f96ea1916685" providerId="ADAL" clId="{03DDE8F0-7760-6445-82E5-3D78AF516955}" dt="2023-07-20T14:01:02.385" v="819" actId="1076"/>
          <ac:spMkLst>
            <pc:docMk/>
            <pc:sldMk cId="471085012" sldId="2147469231"/>
            <ac:spMk id="58" creationId="{A37161D5-C4F1-4CE2-9CDE-BBDDF97A25A6}"/>
          </ac:spMkLst>
        </pc:spChg>
        <pc:spChg chg="mod">
          <ac:chgData name="Lorenzo Negro" userId="f5c1ec43-de79-40b8-82f6-f96ea1916685" providerId="ADAL" clId="{03DDE8F0-7760-6445-82E5-3D78AF516955}" dt="2023-07-20T13:03:59.566" v="680" actId="1076"/>
          <ac:spMkLst>
            <pc:docMk/>
            <pc:sldMk cId="471085012" sldId="2147469231"/>
            <ac:spMk id="61" creationId="{6C6AA3C4-4FA7-41F5-B704-D59072539E5C}"/>
          </ac:spMkLst>
        </pc:spChg>
        <pc:spChg chg="mod">
          <ac:chgData name="Lorenzo Negro" userId="f5c1ec43-de79-40b8-82f6-f96ea1916685" providerId="ADAL" clId="{03DDE8F0-7760-6445-82E5-3D78AF516955}" dt="2023-07-20T14:01:05.549" v="820" actId="1076"/>
          <ac:spMkLst>
            <pc:docMk/>
            <pc:sldMk cId="471085012" sldId="2147469231"/>
            <ac:spMk id="62" creationId="{69C190F4-03B6-4C6E-8FFB-84EB052B1849}"/>
          </ac:spMkLst>
        </pc:spChg>
        <pc:spChg chg="mod">
          <ac:chgData name="Lorenzo Negro" userId="f5c1ec43-de79-40b8-82f6-f96ea1916685" providerId="ADAL" clId="{03DDE8F0-7760-6445-82E5-3D78AF516955}" dt="2023-07-20T13:03:53.360" v="679" actId="1076"/>
          <ac:spMkLst>
            <pc:docMk/>
            <pc:sldMk cId="471085012" sldId="2147469231"/>
            <ac:spMk id="66" creationId="{83C212DC-A5E8-4FD7-8491-757AF45E4788}"/>
          </ac:spMkLst>
        </pc:spChg>
        <pc:spChg chg="mod">
          <ac:chgData name="Lorenzo Negro" userId="f5c1ec43-de79-40b8-82f6-f96ea1916685" providerId="ADAL" clId="{03DDE8F0-7760-6445-82E5-3D78AF516955}" dt="2023-07-20T14:01:09.151" v="821" actId="1076"/>
          <ac:spMkLst>
            <pc:docMk/>
            <pc:sldMk cId="471085012" sldId="2147469231"/>
            <ac:spMk id="68" creationId="{DF10ACB7-9C24-4FD0-83AD-09B900541C15}"/>
          </ac:spMkLst>
        </pc:spChg>
        <pc:spChg chg="mod">
          <ac:chgData name="Lorenzo Negro" userId="f5c1ec43-de79-40b8-82f6-f96ea1916685" providerId="ADAL" clId="{03DDE8F0-7760-6445-82E5-3D78AF516955}" dt="2023-07-20T13:03:47.458" v="678" actId="1076"/>
          <ac:spMkLst>
            <pc:docMk/>
            <pc:sldMk cId="471085012" sldId="2147469231"/>
            <ac:spMk id="73" creationId="{7A73E272-4C74-41A9-AFF7-2CE20C2C3837}"/>
          </ac:spMkLst>
        </pc:spChg>
        <pc:spChg chg="mod">
          <ac:chgData name="Lorenzo Negro" userId="f5c1ec43-de79-40b8-82f6-f96ea1916685" providerId="ADAL" clId="{03DDE8F0-7760-6445-82E5-3D78AF516955}" dt="2023-07-20T13:51:32.631" v="700" actId="1076"/>
          <ac:spMkLst>
            <pc:docMk/>
            <pc:sldMk cId="471085012" sldId="2147469231"/>
            <ac:spMk id="77" creationId="{146521E4-BE4C-4BDE-8DF9-D24CC3DBBB06}"/>
          </ac:spMkLst>
        </pc:spChg>
        <pc:grpChg chg="add mod">
          <ac:chgData name="Lorenzo Negro" userId="f5c1ec43-de79-40b8-82f6-f96ea1916685" providerId="ADAL" clId="{03DDE8F0-7760-6445-82E5-3D78AF516955}" dt="2023-07-20T13:51:28.035" v="699" actId="164"/>
          <ac:grpSpMkLst>
            <pc:docMk/>
            <pc:sldMk cId="471085012" sldId="2147469231"/>
            <ac:grpSpMk id="12" creationId="{31EE3F20-EF25-2CF9-F711-13ED2D8AEF60}"/>
          </ac:grpSpMkLst>
        </pc:grpChg>
        <pc:picChg chg="add del mod">
          <ac:chgData name="Lorenzo Negro" userId="f5c1ec43-de79-40b8-82f6-f96ea1916685" providerId="ADAL" clId="{03DDE8F0-7760-6445-82E5-3D78AF516955}" dt="2023-07-20T12:42:58.435" v="505" actId="478"/>
          <ac:picMkLst>
            <pc:docMk/>
            <pc:sldMk cId="471085012" sldId="2147469231"/>
            <ac:picMk id="2" creationId="{DEC60AE8-6DC1-5E2C-A241-4B360B3A5A14}"/>
          </ac:picMkLst>
        </pc:picChg>
        <pc:picChg chg="add del mod">
          <ac:chgData name="Lorenzo Negro" userId="f5c1ec43-de79-40b8-82f6-f96ea1916685" providerId="ADAL" clId="{03DDE8F0-7760-6445-82E5-3D78AF516955}" dt="2023-07-20T12:42:51.604" v="502" actId="478"/>
          <ac:picMkLst>
            <pc:docMk/>
            <pc:sldMk cId="471085012" sldId="2147469231"/>
            <ac:picMk id="5" creationId="{F1E8D2CB-BE74-105F-4BFE-462EDA9F12AC}"/>
          </ac:picMkLst>
        </pc:picChg>
        <pc:picChg chg="add mod">
          <ac:chgData name="Lorenzo Negro" userId="f5c1ec43-de79-40b8-82f6-f96ea1916685" providerId="ADAL" clId="{03DDE8F0-7760-6445-82E5-3D78AF516955}" dt="2023-07-20T13:02:58.814" v="677" actId="1076"/>
          <ac:picMkLst>
            <pc:docMk/>
            <pc:sldMk cId="471085012" sldId="2147469231"/>
            <ac:picMk id="6" creationId="{AF12B4E2-B302-3AC7-500A-11CC62BB9447}"/>
          </ac:picMkLst>
        </pc:picChg>
        <pc:picChg chg="add mod">
          <ac:chgData name="Lorenzo Negro" userId="f5c1ec43-de79-40b8-82f6-f96ea1916685" providerId="ADAL" clId="{03DDE8F0-7760-6445-82E5-3D78AF516955}" dt="2023-07-20T14:01:29.356" v="824" actId="14100"/>
          <ac:picMkLst>
            <pc:docMk/>
            <pc:sldMk cId="471085012" sldId="2147469231"/>
            <ac:picMk id="7" creationId="{ED3E31E2-4DCE-CFCB-5759-29DEAB85292A}"/>
          </ac:picMkLst>
        </pc:picChg>
        <pc:picChg chg="mod">
          <ac:chgData name="Lorenzo Negro" userId="f5c1ec43-de79-40b8-82f6-f96ea1916685" providerId="ADAL" clId="{03DDE8F0-7760-6445-82E5-3D78AF516955}" dt="2023-07-20T12:43:58.842" v="531" actId="1076"/>
          <ac:picMkLst>
            <pc:docMk/>
            <pc:sldMk cId="471085012" sldId="2147469231"/>
            <ac:picMk id="31" creationId="{258A3CFE-A730-4A2E-8CE7-A9011A1B63EB}"/>
          </ac:picMkLst>
        </pc:picChg>
        <pc:picChg chg="del">
          <ac:chgData name="Lorenzo Negro" userId="f5c1ec43-de79-40b8-82f6-f96ea1916685" providerId="ADAL" clId="{03DDE8F0-7760-6445-82E5-3D78AF516955}" dt="2023-07-20T12:42:53.577" v="503" actId="478"/>
          <ac:picMkLst>
            <pc:docMk/>
            <pc:sldMk cId="471085012" sldId="2147469231"/>
            <ac:picMk id="34" creationId="{6FBB8562-80DD-486E-9A9A-588CC4B7FFEE}"/>
          </ac:picMkLst>
        </pc:picChg>
        <pc:picChg chg="mod modCrop">
          <ac:chgData name="Lorenzo Negro" userId="f5c1ec43-de79-40b8-82f6-f96ea1916685" providerId="ADAL" clId="{03DDE8F0-7760-6445-82E5-3D78AF516955}" dt="2023-07-20T13:51:28.035" v="699" actId="164"/>
          <ac:picMkLst>
            <pc:docMk/>
            <pc:sldMk cId="471085012" sldId="2147469231"/>
            <ac:picMk id="74" creationId="{C7027D90-B9A7-024C-A333-E0DB749971F8}"/>
          </ac:picMkLst>
        </pc:picChg>
        <pc:picChg chg="del mod">
          <ac:chgData name="Lorenzo Negro" userId="f5c1ec43-de79-40b8-82f6-f96ea1916685" providerId="ADAL" clId="{03DDE8F0-7760-6445-82E5-3D78AF516955}" dt="2023-07-20T12:42:46.447" v="500" actId="478"/>
          <ac:picMkLst>
            <pc:docMk/>
            <pc:sldMk cId="471085012" sldId="2147469231"/>
            <ac:picMk id="75" creationId="{3AD8757F-CD37-4EF7-A89C-CC245DB452AD}"/>
          </ac:picMkLst>
        </pc:picChg>
        <pc:picChg chg="mod">
          <ac:chgData name="Lorenzo Negro" userId="f5c1ec43-de79-40b8-82f6-f96ea1916685" providerId="ADAL" clId="{03DDE8F0-7760-6445-82E5-3D78AF516955}" dt="2023-07-20T12:43:58.842" v="531" actId="1076"/>
          <ac:picMkLst>
            <pc:docMk/>
            <pc:sldMk cId="471085012" sldId="2147469231"/>
            <ac:picMk id="76" creationId="{6FE259C2-E43B-4023-AA81-37DB175C4FCA}"/>
          </ac:picMkLst>
        </pc:picChg>
        <pc:cxnChg chg="add mod">
          <ac:chgData name="Lorenzo Negro" userId="f5c1ec43-de79-40b8-82f6-f96ea1916685" providerId="ADAL" clId="{03DDE8F0-7760-6445-82E5-3D78AF516955}" dt="2023-07-20T13:02:48.531" v="676" actId="465"/>
          <ac:cxnSpMkLst>
            <pc:docMk/>
            <pc:sldMk cId="471085012" sldId="2147469231"/>
            <ac:cxnSpMk id="8" creationId="{9AD24FE5-466C-8C8A-E0DB-2180DC03545E}"/>
          </ac:cxnSpMkLst>
        </pc:cxnChg>
        <pc:cxnChg chg="add mod">
          <ac:chgData name="Lorenzo Negro" userId="f5c1ec43-de79-40b8-82f6-f96ea1916685" providerId="ADAL" clId="{03DDE8F0-7760-6445-82E5-3D78AF516955}" dt="2023-07-20T13:02:48.531" v="676" actId="465"/>
          <ac:cxnSpMkLst>
            <pc:docMk/>
            <pc:sldMk cId="471085012" sldId="2147469231"/>
            <ac:cxnSpMk id="10" creationId="{38152B78-2BA6-9425-2BFA-72D1138F39BC}"/>
          </ac:cxnSpMkLst>
        </pc:cxnChg>
        <pc:cxnChg chg="add mod">
          <ac:chgData name="Lorenzo Negro" userId="f5c1ec43-de79-40b8-82f6-f96ea1916685" providerId="ADAL" clId="{03DDE8F0-7760-6445-82E5-3D78AF516955}" dt="2023-07-20T13:02:48.531" v="676" actId="465"/>
          <ac:cxnSpMkLst>
            <pc:docMk/>
            <pc:sldMk cId="471085012" sldId="2147469231"/>
            <ac:cxnSpMk id="11" creationId="{CCBD7645-3FF3-2202-522F-07FE55DAB435}"/>
          </ac:cxnSpMkLst>
        </pc:cxnChg>
      </pc:sldChg>
      <pc:sldChg chg="delSp modSp mod">
        <pc:chgData name="Lorenzo Negro" userId="f5c1ec43-de79-40b8-82f6-f96ea1916685" providerId="ADAL" clId="{03DDE8F0-7760-6445-82E5-3D78AF516955}" dt="2023-07-21T09:07:53.122" v="1360" actId="255"/>
        <pc:sldMkLst>
          <pc:docMk/>
          <pc:sldMk cId="2293823214" sldId="2147469232"/>
        </pc:sldMkLst>
        <pc:spChg chg="mod">
          <ac:chgData name="Lorenzo Negro" userId="f5c1ec43-de79-40b8-82f6-f96ea1916685" providerId="ADAL" clId="{03DDE8F0-7760-6445-82E5-3D78AF516955}" dt="2023-07-21T09:07:53.122" v="1360" actId="255"/>
          <ac:spMkLst>
            <pc:docMk/>
            <pc:sldMk cId="2293823214" sldId="2147469232"/>
            <ac:spMk id="28" creationId="{BD91DE48-D2BB-4225-AD2B-F609F494E3F0}"/>
          </ac:spMkLst>
        </pc:spChg>
        <pc:grpChg chg="del">
          <ac:chgData name="Lorenzo Negro" userId="f5c1ec43-de79-40b8-82f6-f96ea1916685" providerId="ADAL" clId="{03DDE8F0-7760-6445-82E5-3D78AF516955}" dt="2023-07-21T08:43:33.987" v="1216" actId="478"/>
          <ac:grpSpMkLst>
            <pc:docMk/>
            <pc:sldMk cId="2293823214" sldId="2147469232"/>
            <ac:grpSpMk id="13" creationId="{5D387B40-4672-0142-BCC5-FE8955C90F5C}"/>
          </ac:grpSpMkLst>
        </pc:grpChg>
      </pc:sldChg>
      <pc:sldChg chg="addSp delSp modSp mod">
        <pc:chgData name="Lorenzo Negro" userId="f5c1ec43-de79-40b8-82f6-f96ea1916685" providerId="ADAL" clId="{03DDE8F0-7760-6445-82E5-3D78AF516955}" dt="2023-07-20T14:32:13.534" v="1078" actId="108"/>
        <pc:sldMkLst>
          <pc:docMk/>
          <pc:sldMk cId="3620599846" sldId="2147469233"/>
        </pc:sldMkLst>
        <pc:spChg chg="mod">
          <ac:chgData name="Lorenzo Negro" userId="f5c1ec43-de79-40b8-82f6-f96ea1916685" providerId="ADAL" clId="{03DDE8F0-7760-6445-82E5-3D78AF516955}" dt="2023-07-20T14:23:24.199" v="955" actId="1037"/>
          <ac:spMkLst>
            <pc:docMk/>
            <pc:sldMk cId="3620599846" sldId="2147469233"/>
            <ac:spMk id="3" creationId="{81AE4098-838B-4FF2-9C4E-0E0572375E8D}"/>
          </ac:spMkLst>
        </pc:spChg>
        <pc:spChg chg="del">
          <ac:chgData name="Lorenzo Negro" userId="f5c1ec43-de79-40b8-82f6-f96ea1916685" providerId="ADAL" clId="{03DDE8F0-7760-6445-82E5-3D78AF516955}" dt="2023-07-20T14:17:35.030" v="878" actId="478"/>
          <ac:spMkLst>
            <pc:docMk/>
            <pc:sldMk cId="3620599846" sldId="2147469233"/>
            <ac:spMk id="27" creationId="{4B007A4F-0CEF-4B96-A55C-96CA2E772349}"/>
          </ac:spMkLst>
        </pc:spChg>
        <pc:spChg chg="add del mod">
          <ac:chgData name="Lorenzo Negro" userId="f5c1ec43-de79-40b8-82f6-f96ea1916685" providerId="ADAL" clId="{03DDE8F0-7760-6445-82E5-3D78AF516955}" dt="2023-07-20T14:23:24.199" v="955" actId="1037"/>
          <ac:spMkLst>
            <pc:docMk/>
            <pc:sldMk cId="3620599846" sldId="2147469233"/>
            <ac:spMk id="28" creationId="{8A7BE90B-F868-435F-8883-625E685C972E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2" creationId="{0D3282AA-073F-48D4-AEC6-6C4AC5666880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3" creationId="{D284B821-A073-441D-B139-C6022AA49082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4" creationId="{D9D76AFE-F199-4891-8FCB-E77D87487A4A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5" creationId="{53DE2EC6-4D4F-4974-99F0-DC7CBD2160CA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6" creationId="{2D7D29BA-64C7-4B45-BA14-9EB123C86451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7" creationId="{5E8E20F0-4572-4318-B5C2-FBC73AD2089E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8" creationId="{71E673E7-3BB7-4C14-BA2F-6DA8DD61AC76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39" creationId="{583555D3-0805-4BE1-9A18-6FEC2DB74DC9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0" creationId="{AFB9F337-167D-453E-99C5-CBA45080F829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1" creationId="{76F8C3DE-1C32-4A4E-AC1D-1CB929D817A4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2" creationId="{0C50BD82-9598-4A30-BB4B-6F7C230E74B3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3" creationId="{2B6567F6-F226-4075-A928-3BA4B8465E5F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4" creationId="{B72E06DF-A2AA-4B2B-826E-CDE20BAC7A05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45" creationId="{BF2FB101-927D-45C1-A450-FB2F39696CF8}"/>
          </ac:spMkLst>
        </pc:spChg>
        <pc:spChg chg="mod">
          <ac:chgData name="Lorenzo Negro" userId="f5c1ec43-de79-40b8-82f6-f96ea1916685" providerId="ADAL" clId="{03DDE8F0-7760-6445-82E5-3D78AF516955}" dt="2023-07-20T14:23:24.199" v="955" actId="1037"/>
          <ac:spMkLst>
            <pc:docMk/>
            <pc:sldMk cId="3620599846" sldId="2147469233"/>
            <ac:spMk id="46" creationId="{F4E84BA1-D61C-4CC1-83FC-714C1087F25B}"/>
          </ac:spMkLst>
        </pc:spChg>
        <pc:spChg chg="del">
          <ac:chgData name="Lorenzo Negro" userId="f5c1ec43-de79-40b8-82f6-f96ea1916685" providerId="ADAL" clId="{03DDE8F0-7760-6445-82E5-3D78AF516955}" dt="2023-07-20T14:17:28.813" v="874" actId="478"/>
          <ac:spMkLst>
            <pc:docMk/>
            <pc:sldMk cId="3620599846" sldId="2147469233"/>
            <ac:spMk id="47" creationId="{8A33456B-AC3C-4347-BC91-BD055CE111C1}"/>
          </ac:spMkLst>
        </pc:spChg>
        <pc:spChg chg="mod">
          <ac:chgData name="Lorenzo Negro" userId="f5c1ec43-de79-40b8-82f6-f96ea1916685" providerId="ADAL" clId="{03DDE8F0-7760-6445-82E5-3D78AF516955}" dt="2023-07-20T14:23:24.199" v="955" actId="1037"/>
          <ac:spMkLst>
            <pc:docMk/>
            <pc:sldMk cId="3620599846" sldId="2147469233"/>
            <ac:spMk id="48" creationId="{A7A329F4-45EF-42F1-AA65-B4B27BB97903}"/>
          </ac:spMkLst>
        </pc:spChg>
        <pc:spChg chg="del mod">
          <ac:chgData name="Lorenzo Negro" userId="f5c1ec43-de79-40b8-82f6-f96ea1916685" providerId="ADAL" clId="{03DDE8F0-7760-6445-82E5-3D78AF516955}" dt="2023-07-20T14:17:26.834" v="873" actId="478"/>
          <ac:spMkLst>
            <pc:docMk/>
            <pc:sldMk cId="3620599846" sldId="2147469233"/>
            <ac:spMk id="49" creationId="{67DD40D1-2D14-4878-B9E9-8A6F0F6521E3}"/>
          </ac:spMkLst>
        </pc:spChg>
        <pc:spChg chg="mod">
          <ac:chgData name="Lorenzo Negro" userId="f5c1ec43-de79-40b8-82f6-f96ea1916685" providerId="ADAL" clId="{03DDE8F0-7760-6445-82E5-3D78AF516955}" dt="2023-07-20T14:22:57.625" v="941" actId="1076"/>
          <ac:spMkLst>
            <pc:docMk/>
            <pc:sldMk cId="3620599846" sldId="2147469233"/>
            <ac:spMk id="50" creationId="{6B86AB1B-8849-4754-965D-0FCA39A5820F}"/>
          </ac:spMkLst>
        </pc:spChg>
        <pc:grpChg chg="mod">
          <ac:chgData name="Lorenzo Negro" userId="f5c1ec43-de79-40b8-82f6-f96ea1916685" providerId="ADAL" clId="{03DDE8F0-7760-6445-82E5-3D78AF516955}" dt="2023-07-20T14:22:57.625" v="941" actId="1076"/>
          <ac:grpSpMkLst>
            <pc:docMk/>
            <pc:sldMk cId="3620599846" sldId="2147469233"/>
            <ac:grpSpMk id="2" creationId="{C1574C69-F6A0-4B19-BA3A-78B251613BB2}"/>
          </ac:grpSpMkLst>
        </pc:grpChg>
        <pc:grpChg chg="mod">
          <ac:chgData name="Lorenzo Negro" userId="f5c1ec43-de79-40b8-82f6-f96ea1916685" providerId="ADAL" clId="{03DDE8F0-7760-6445-82E5-3D78AF516955}" dt="2023-07-20T14:22:57.625" v="941" actId="1076"/>
          <ac:grpSpMkLst>
            <pc:docMk/>
            <pc:sldMk cId="3620599846" sldId="2147469233"/>
            <ac:grpSpMk id="31" creationId="{B2207DB4-512F-480A-9038-48AC8153F78B}"/>
          </ac:grpSpMkLst>
        </pc:grp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4" creationId="{63EE46FC-BF53-4DF7-A2DD-23D5A8255857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5" creationId="{7CAC7CC9-56BE-4178-9CE0-31AFA584F2ED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6" creationId="{5F714669-4948-44A7-A101-8A05E100D709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7" creationId="{331D0A38-A307-4F85-938A-322A0418CFA3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9" creationId="{A2388D57-9448-49BE-A93F-429B4553B08C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51" creationId="{1F6BC58B-99A6-4F6D-8BD7-49B470FB7BB1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66" creationId="{608C43B8-BB2F-44B0-B0E6-60B935519553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68" creationId="{B78DBA44-5646-4E57-9DE9-D297753CA693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72" creationId="{B040A5B0-5159-4F66-8C14-67E123205072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73" creationId="{A8C61817-2315-47CC-B573-11A9A65A9C88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1026" creationId="{BA4AD9D8-C9C3-4B65-A7F3-9724991C6D32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1028" creationId="{11F1DFA6-A7D9-4105-855A-FEE0FFBF8972}"/>
          </ac:picMkLst>
        </pc:picChg>
        <pc:picChg chg="mod">
          <ac:chgData name="Lorenzo Negro" userId="f5c1ec43-de79-40b8-82f6-f96ea1916685" providerId="ADAL" clId="{03DDE8F0-7760-6445-82E5-3D78AF516955}" dt="2023-07-20T14:22:57.625" v="941" actId="1076"/>
          <ac:picMkLst>
            <pc:docMk/>
            <pc:sldMk cId="3620599846" sldId="2147469233"/>
            <ac:picMk id="1030" creationId="{B4BA164F-DAA4-44B3-A7E1-C568AE14AFCF}"/>
          </ac:picMkLst>
        </pc:picChg>
        <pc:cxnChg chg="add del mod">
          <ac:chgData name="Lorenzo Negro" userId="f5c1ec43-de79-40b8-82f6-f96ea1916685" providerId="ADAL" clId="{03DDE8F0-7760-6445-82E5-3D78AF516955}" dt="2023-07-20T14:18:09.861" v="884" actId="478"/>
          <ac:cxnSpMkLst>
            <pc:docMk/>
            <pc:sldMk cId="3620599846" sldId="2147469233"/>
            <ac:cxnSpMk id="10" creationId="{CE1F1091-539E-3984-CEEB-8D597137135A}"/>
          </ac:cxnSpMkLst>
        </pc:cxnChg>
        <pc:cxnChg chg="add mod">
          <ac:chgData name="Lorenzo Negro" userId="f5c1ec43-de79-40b8-82f6-f96ea1916685" providerId="ADAL" clId="{03DDE8F0-7760-6445-82E5-3D78AF516955}" dt="2023-07-20T14:32:13.534" v="1078" actId="108"/>
          <ac:cxnSpMkLst>
            <pc:docMk/>
            <pc:sldMk cId="3620599846" sldId="2147469233"/>
            <ac:cxnSpMk id="11" creationId="{F345E5DF-6671-58AC-CD7C-BD88DCB26962}"/>
          </ac:cxnSpMkLst>
        </pc:cxnChg>
        <pc:cxnChg chg="add del mod">
          <ac:chgData name="Lorenzo Negro" userId="f5c1ec43-de79-40b8-82f6-f96ea1916685" providerId="ADAL" clId="{03DDE8F0-7760-6445-82E5-3D78AF516955}" dt="2023-07-20T14:22:02.751" v="928" actId="478"/>
          <ac:cxnSpMkLst>
            <pc:docMk/>
            <pc:sldMk cId="3620599846" sldId="2147469233"/>
            <ac:cxnSpMk id="13" creationId="{32934265-7072-3620-E242-910495907076}"/>
          </ac:cxnSpMkLst>
        </pc:cxnChg>
        <pc:cxnChg chg="add del mod">
          <ac:chgData name="Lorenzo Negro" userId="f5c1ec43-de79-40b8-82f6-f96ea1916685" providerId="ADAL" clId="{03DDE8F0-7760-6445-82E5-3D78AF516955}" dt="2023-07-20T14:22:05.371" v="929" actId="478"/>
          <ac:cxnSpMkLst>
            <pc:docMk/>
            <pc:sldMk cId="3620599846" sldId="2147469233"/>
            <ac:cxnSpMk id="15" creationId="{20F016D5-52EA-C27D-D6C3-FC984C0E5B95}"/>
          </ac:cxnSpMkLst>
        </pc:cxnChg>
        <pc:cxnChg chg="add mod">
          <ac:chgData name="Lorenzo Negro" userId="f5c1ec43-de79-40b8-82f6-f96ea1916685" providerId="ADAL" clId="{03DDE8F0-7760-6445-82E5-3D78AF516955}" dt="2023-07-20T14:32:11.412" v="1077" actId="108"/>
          <ac:cxnSpMkLst>
            <pc:docMk/>
            <pc:sldMk cId="3620599846" sldId="2147469233"/>
            <ac:cxnSpMk id="17" creationId="{13C52223-074A-5F10-6B89-277CF950F063}"/>
          </ac:cxnSpMkLst>
        </pc:cxnChg>
      </pc:sldChg>
      <pc:sldChg chg="addSp delSp modSp mod">
        <pc:chgData name="Lorenzo Negro" userId="f5c1ec43-de79-40b8-82f6-f96ea1916685" providerId="ADAL" clId="{03DDE8F0-7760-6445-82E5-3D78AF516955}" dt="2023-07-24T12:22:34.320" v="1961" actId="1076"/>
        <pc:sldMkLst>
          <pc:docMk/>
          <pc:sldMk cId="2699990161" sldId="2147469234"/>
        </pc:sldMkLst>
        <pc:spChg chg="add del 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6" creationId="{3C135B08-1C04-4383-8569-0E50A3719FCE}"/>
          </ac:spMkLst>
        </pc:spChg>
        <pc:spChg chg="mod">
          <ac:chgData name="Lorenzo Negro" userId="f5c1ec43-de79-40b8-82f6-f96ea1916685" providerId="ADAL" clId="{03DDE8F0-7760-6445-82E5-3D78AF516955}" dt="2023-07-20T14:50:23.431" v="1136" actId="1036"/>
          <ac:spMkLst>
            <pc:docMk/>
            <pc:sldMk cId="2699990161" sldId="2147469234"/>
            <ac:spMk id="90" creationId="{2992B0D8-6647-4C1E-837C-76E64CB6E050}"/>
          </ac:spMkLst>
        </pc:spChg>
        <pc:spChg chg="del">
          <ac:chgData name="Lorenzo Negro" userId="f5c1ec43-de79-40b8-82f6-f96ea1916685" providerId="ADAL" clId="{03DDE8F0-7760-6445-82E5-3D78AF516955}" dt="2023-07-20T14:32:43.326" v="1083" actId="478"/>
          <ac:spMkLst>
            <pc:docMk/>
            <pc:sldMk cId="2699990161" sldId="2147469234"/>
            <ac:spMk id="143" creationId="{43565EF0-B648-440E-8547-0EE202583129}"/>
          </ac:spMkLst>
        </pc:spChg>
        <pc:spChg chg="add del mod">
          <ac:chgData name="Lorenzo Negro" userId="f5c1ec43-de79-40b8-82f6-f96ea1916685" providerId="ADAL" clId="{03DDE8F0-7760-6445-82E5-3D78AF516955}" dt="2023-07-24T12:22:25.101" v="1957" actId="403"/>
          <ac:spMkLst>
            <pc:docMk/>
            <pc:sldMk cId="2699990161" sldId="2147469234"/>
            <ac:spMk id="144" creationId="{5100C6A2-D34B-4E86-88DF-E4D7D5BA98A4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87" creationId="{5C104684-CB2A-4E9E-9AD6-2733FD1A5415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88" creationId="{C566B171-D6D1-4150-906D-8FDA9F569156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89" creationId="{22048DA9-92D4-459E-8BEF-3AF7F7F2E020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0" creationId="{0EBCE0F5-535D-4450-B3F3-AB6E5F2177AA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1" creationId="{CA65C08F-80AC-4C5D-80EB-05AF9B4CF36C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2" creationId="{5F64F7C0-3290-4EC2-8E42-66A47E438A38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3" creationId="{5E12DCA0-6E5D-43F0-8754-D160E60351BD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5" creationId="{22D0BC07-0526-4538-8CEC-10CFDF036E49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6" creationId="{889E0D31-30FA-491B-BD2C-593DF2EED2AD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7" creationId="{5EA63D3B-12B2-4F28-A57C-0BA82435907D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8" creationId="{DA668209-EDD3-4CB5-A902-CA33F6D83C7A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199" creationId="{18B67C20-C0A3-4638-9BDB-DC8278CF81BA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0" creationId="{1982F8A8-7C3C-463F-B9CA-CC27073677A4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1" creationId="{F1B5C98D-8EB2-485E-A348-AD83801ACF1A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2" creationId="{0A043FCA-18EA-428C-A1DD-9FF2B390B329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3" creationId="{56AE3A26-B092-4DCD-8282-913C6379F337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4" creationId="{B6B64CC1-0FEF-47AB-812A-8500A51C67E1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5" creationId="{50BF7A82-A565-4C66-8511-C3D21F67CC18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7" creationId="{8C1F76AC-7E69-4F62-BA3B-C3CB57EB7BE8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08" creationId="{FD4D1BAD-4C6E-4DFA-B95F-BFEB58B0F86E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14" creationId="{EA25D500-514E-4DA1-9AE4-D504EC173F46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15" creationId="{BAF34240-C4EF-4369-9F49-2A8F3722336C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17" creationId="{76628798-09A9-4EDE-8E92-7C5D132F6E7C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18" creationId="{490CE669-608C-4279-8B44-2AEB9326B900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19" creationId="{9129E2D1-413C-4527-B39A-78EF7AA171E9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0" creationId="{AC0C4F48-48B0-4C3D-8013-1007971A2634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1" creationId="{3A0479E1-2691-40F6-92B3-FF9188D669FC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2" creationId="{EAB4A7AA-CF8F-477A-A77C-B185039BCBD0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3" creationId="{93EAD4FE-475A-471D-9017-D5E95A55F648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4" creationId="{ECC238AA-6981-4125-B7A4-25E01E307877}"/>
          </ac:spMkLst>
        </pc:spChg>
        <pc:spChg chg="mod">
          <ac:chgData name="Lorenzo Negro" userId="f5c1ec43-de79-40b8-82f6-f96ea1916685" providerId="ADAL" clId="{03DDE8F0-7760-6445-82E5-3D78AF516955}" dt="2023-07-20T14:50:38.380" v="1137" actId="14100"/>
          <ac:spMkLst>
            <pc:docMk/>
            <pc:sldMk cId="2699990161" sldId="2147469234"/>
            <ac:spMk id="225" creationId="{576F7CDC-DA2C-4070-80AF-479F3E097FEB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7" creationId="{4FDE771E-BD05-4E82-B373-E784E1A90071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29" creationId="{FF33776D-053C-4EE0-B806-15917014BB4C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30" creationId="{CBC97181-5B5A-416B-A23C-833DC9EE1319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32" creationId="{6504799E-2187-4E3F-A347-9C31F4313511}"/>
          </ac:spMkLst>
        </pc:spChg>
        <pc:spChg chg="mod">
          <ac:chgData name="Lorenzo Negro" userId="f5c1ec43-de79-40b8-82f6-f96ea1916685" providerId="ADAL" clId="{03DDE8F0-7760-6445-82E5-3D78AF516955}" dt="2023-07-20T14:50:09.793" v="1122" actId="1076"/>
          <ac:spMkLst>
            <pc:docMk/>
            <pc:sldMk cId="2699990161" sldId="2147469234"/>
            <ac:spMk id="233" creationId="{28E096FB-6310-4659-B901-2633EA08CD58}"/>
          </ac:spMkLst>
        </pc:spChg>
        <pc:spChg chg="del">
          <ac:chgData name="Lorenzo Negro" userId="f5c1ec43-de79-40b8-82f6-f96ea1916685" providerId="ADAL" clId="{03DDE8F0-7760-6445-82E5-3D78AF516955}" dt="2023-07-20T14:32:51.089" v="1087" actId="478"/>
          <ac:spMkLst>
            <pc:docMk/>
            <pc:sldMk cId="2699990161" sldId="2147469234"/>
            <ac:spMk id="240" creationId="{B1ADD56A-0ABE-4327-8F0E-FCA397B615AF}"/>
          </ac:spMkLst>
        </pc:spChg>
        <pc:spChg chg="add del mod">
          <ac:chgData name="Lorenzo Negro" userId="f5c1ec43-de79-40b8-82f6-f96ea1916685" providerId="ADAL" clId="{03DDE8F0-7760-6445-82E5-3D78AF516955}" dt="2023-07-24T12:22:34.320" v="1961" actId="1076"/>
          <ac:spMkLst>
            <pc:docMk/>
            <pc:sldMk cId="2699990161" sldId="2147469234"/>
            <ac:spMk id="241" creationId="{F2C43A50-B88C-4AB3-958F-3CBA17E4F9E0}"/>
          </ac:spMkLst>
        </pc:s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62" creationId="{A16CDE65-98BA-4EC2-A065-5EC22F40B57B}"/>
          </ac:grpSpMkLst>
        </pc:grpChg>
        <pc:grpChg chg="del">
          <ac:chgData name="Lorenzo Negro" userId="f5c1ec43-de79-40b8-82f6-f96ea1916685" providerId="ADAL" clId="{03DDE8F0-7760-6445-82E5-3D78AF516955}" dt="2023-07-20T14:25:18.357" v="966" actId="478"/>
          <ac:grpSpMkLst>
            <pc:docMk/>
            <pc:sldMk cId="2699990161" sldId="2147469234"/>
            <ac:grpSpMk id="165" creationId="{0E804DE8-3B0C-47F6-903A-3DF25B9C58C4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68" creationId="{ACED8F9E-E8CB-476C-9B3E-923EE8EA6220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72" creationId="{7E1C2F0E-3694-491D-9BD1-5D5CB735F8F9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75" creationId="{65B7F749-B3D7-425D-B4C8-7F564684E55D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78" creationId="{EC54E84C-B9CF-4621-A537-B817FA42CEC7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81" creationId="{66F38D22-622C-4B91-9B1F-4CF469168BD2}"/>
          </ac:grpSpMkLst>
        </pc:grpChg>
        <pc:grpChg chg="mod">
          <ac:chgData name="Lorenzo Negro" userId="f5c1ec43-de79-40b8-82f6-f96ea1916685" providerId="ADAL" clId="{03DDE8F0-7760-6445-82E5-3D78AF516955}" dt="2023-07-20T14:50:09.793" v="1122" actId="1076"/>
          <ac:grpSpMkLst>
            <pc:docMk/>
            <pc:sldMk cId="2699990161" sldId="2147469234"/>
            <ac:grpSpMk id="184" creationId="{6DD84EC6-1F73-4773-A9C8-DBFC0C108378}"/>
          </ac:grpSpMkLst>
        </pc:grp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09" creationId="{BE2455FC-6B8E-4A8B-9AAA-97DD6FAC4285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10" creationId="{468C1757-7D0D-4303-AEEC-1DE36187131A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11" creationId="{6E8A8D93-6981-4001-86A6-C552C62DF0EE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12" creationId="{E51CC08C-4FDC-4C81-8408-00BBB2981BB3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16" creationId="{8A0A0001-ED7D-45B0-8C59-B41577363A92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28" creationId="{579C17D1-B0DA-48CC-AFDB-8E56397DC4A2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31" creationId="{6A55DC81-CAE4-4EF7-8FE9-D633DD3BE4E0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34" creationId="{4C492649-5B4D-4634-9B8A-194F799612A2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35" creationId="{FCF423BB-FF9A-44F5-A528-64D500A354A0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36" creationId="{DF5C107E-0385-48A1-910C-D293D9AAA884}"/>
          </ac:picMkLst>
        </pc:picChg>
        <pc:picChg chg="mod">
          <ac:chgData name="Lorenzo Negro" userId="f5c1ec43-de79-40b8-82f6-f96ea1916685" providerId="ADAL" clId="{03DDE8F0-7760-6445-82E5-3D78AF516955}" dt="2023-07-20T14:50:09.793" v="1122" actId="1076"/>
          <ac:picMkLst>
            <pc:docMk/>
            <pc:sldMk cId="2699990161" sldId="2147469234"/>
            <ac:picMk id="237" creationId="{465B3AEA-EE87-43D6-B11D-667927EBC9AE}"/>
          </ac:picMkLst>
        </pc:picChg>
        <pc:cxnChg chg="add del mod">
          <ac:chgData name="Lorenzo Negro" userId="f5c1ec43-de79-40b8-82f6-f96ea1916685" providerId="ADAL" clId="{03DDE8F0-7760-6445-82E5-3D78AF516955}" dt="2023-07-20T14:27:48.265" v="1006" actId="11529"/>
          <ac:cxnSpMkLst>
            <pc:docMk/>
            <pc:sldMk cId="2699990161" sldId="2147469234"/>
            <ac:cxnSpMk id="11" creationId="{F03BBD5B-6FD2-8B3D-4F78-2B048A86183C}"/>
          </ac:cxnSpMkLst>
        </pc:cxnChg>
        <pc:cxnChg chg="add del mod">
          <ac:chgData name="Lorenzo Negro" userId="f5c1ec43-de79-40b8-82f6-f96ea1916685" providerId="ADAL" clId="{03DDE8F0-7760-6445-82E5-3D78AF516955}" dt="2023-07-20T14:27:47.011" v="1001" actId="11529"/>
          <ac:cxnSpMkLst>
            <pc:docMk/>
            <pc:sldMk cId="2699990161" sldId="2147469234"/>
            <ac:cxnSpMk id="16" creationId="{52D6CC71-3D97-3C41-A2F3-5952E22FAE34}"/>
          </ac:cxnSpMkLst>
        </pc:cxnChg>
        <pc:cxnChg chg="add 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23" creationId="{CDBAEA25-4862-E931-D755-C16C42BE0E7C}"/>
          </ac:cxnSpMkLst>
        </pc:cxnChg>
        <pc:cxnChg chg="add 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24" creationId="{AFB35BFC-383B-DE42-9E8D-AC57A2BC4B79}"/>
          </ac:cxnSpMkLst>
        </pc:cxnChg>
        <pc:cxnChg chg="add del mod">
          <ac:chgData name="Lorenzo Negro" userId="f5c1ec43-de79-40b8-82f6-f96ea1916685" providerId="ADAL" clId="{03DDE8F0-7760-6445-82E5-3D78AF516955}" dt="2023-07-20T16:17:55.429" v="1149" actId="478"/>
          <ac:cxnSpMkLst>
            <pc:docMk/>
            <pc:sldMk cId="2699990161" sldId="2147469234"/>
            <ac:cxnSpMk id="26" creationId="{3B8750B0-0E8A-7D5B-6F3E-7D34CD4FBF3B}"/>
          </ac:cxnSpMkLst>
        </pc:cxnChg>
        <pc:cxnChg chg="add mod">
          <ac:chgData name="Lorenzo Negro" userId="f5c1ec43-de79-40b8-82f6-f96ea1916685" providerId="ADAL" clId="{03DDE8F0-7760-6445-82E5-3D78AF516955}" dt="2023-07-20T16:18:24.191" v="1157" actId="108"/>
          <ac:cxnSpMkLst>
            <pc:docMk/>
            <pc:sldMk cId="2699990161" sldId="2147469234"/>
            <ac:cxnSpMk id="28" creationId="{42BFCE06-5C2A-C5A0-51FE-7EA4C5AA0E6E}"/>
          </ac:cxnSpMkLst>
        </pc:cxnChg>
        <pc:cxnChg chg="add mod">
          <ac:chgData name="Lorenzo Negro" userId="f5c1ec43-de79-40b8-82f6-f96ea1916685" providerId="ADAL" clId="{03DDE8F0-7760-6445-82E5-3D78AF516955}" dt="2023-07-20T16:18:16.936" v="1156" actId="208"/>
          <ac:cxnSpMkLst>
            <pc:docMk/>
            <pc:sldMk cId="2699990161" sldId="2147469234"/>
            <ac:cxnSpMk id="31" creationId="{C877F523-83DE-DB8F-DD8C-865E4B1AEDAE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63" creationId="{7A2FA503-1D36-476C-9044-EC49A76E6C4B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64" creationId="{27BED308-9892-401B-9903-B49F1EFEC4D2}"/>
          </ac:cxnSpMkLst>
        </pc:cxnChg>
        <pc:cxnChg chg="del topLvl">
          <ac:chgData name="Lorenzo Negro" userId="f5c1ec43-de79-40b8-82f6-f96ea1916685" providerId="ADAL" clId="{03DDE8F0-7760-6445-82E5-3D78AF516955}" dt="2023-07-20T14:25:18.357" v="966" actId="478"/>
          <ac:cxnSpMkLst>
            <pc:docMk/>
            <pc:sldMk cId="2699990161" sldId="2147469234"/>
            <ac:cxnSpMk id="166" creationId="{CC8DB277-9733-425F-8A1B-E404517C5AFB}"/>
          </ac:cxnSpMkLst>
        </pc:cxnChg>
        <pc:cxnChg chg="del mod topLvl">
          <ac:chgData name="Lorenzo Negro" userId="f5c1ec43-de79-40b8-82f6-f96ea1916685" providerId="ADAL" clId="{03DDE8F0-7760-6445-82E5-3D78AF516955}" dt="2023-07-20T14:25:21.098" v="967" actId="478"/>
          <ac:cxnSpMkLst>
            <pc:docMk/>
            <pc:sldMk cId="2699990161" sldId="2147469234"/>
            <ac:cxnSpMk id="167" creationId="{A6F91A8E-F59B-4D63-B12F-8870C8C06302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69" creationId="{EA9436E7-6286-4488-8C3C-7950B538028C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0" creationId="{4C365F49-57AF-4F2F-A838-9EB51324DA88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1" creationId="{DADDBDA8-FEB9-463A-AA9A-D27D73FCF91B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3" creationId="{819FD49C-EA00-4ADA-9DD3-AA845E7ABFF9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4" creationId="{6AB65E58-93BF-4C8A-9A36-EE7F55201D65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6" creationId="{3BC056F7-8087-4E53-B82A-5A3A7F8AF481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7" creationId="{F85B4DA9-7616-4442-90EA-9DCEB0136A13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79" creationId="{A63FCCAA-A111-4E5B-A32D-B7CE5BE92974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80" creationId="{FAC03416-8530-4679-8A0D-D4CDD097744A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82" creationId="{8694E47A-F5D7-4B17-ADF0-803E45AC200D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83" creationId="{4C2A3F99-C0F8-45A7-93E5-D4886FB2B8B2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85" creationId="{526013A4-FCD7-46F5-B99A-3B2BEF9E6DD9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186" creationId="{79FB5E16-D338-422B-AAD0-DB4C51DE8FFF}"/>
          </ac:cxnSpMkLst>
        </pc:cxnChg>
        <pc:cxnChg chg="mod">
          <ac:chgData name="Lorenzo Negro" userId="f5c1ec43-de79-40b8-82f6-f96ea1916685" providerId="ADAL" clId="{03DDE8F0-7760-6445-82E5-3D78AF516955}" dt="2023-07-20T14:50:09.793" v="1122" actId="1076"/>
          <ac:cxnSpMkLst>
            <pc:docMk/>
            <pc:sldMk cId="2699990161" sldId="2147469234"/>
            <ac:cxnSpMk id="242" creationId="{C712393C-BC86-49E3-A0A0-B84C81CFEFAB}"/>
          </ac:cxnSpMkLst>
        </pc:cxnChg>
      </pc:sldChg>
      <pc:sldChg chg="modSp mod">
        <pc:chgData name="Lorenzo Negro" userId="f5c1ec43-de79-40b8-82f6-f96ea1916685" providerId="ADAL" clId="{03DDE8F0-7760-6445-82E5-3D78AF516955}" dt="2023-07-20T16:18:49.536" v="1158" actId="208"/>
        <pc:sldMkLst>
          <pc:docMk/>
          <pc:sldMk cId="4006797568" sldId="2147469235"/>
        </pc:sldMkLst>
        <pc:spChg chg="mod">
          <ac:chgData name="Lorenzo Negro" userId="f5c1ec43-de79-40b8-82f6-f96ea1916685" providerId="ADAL" clId="{03DDE8F0-7760-6445-82E5-3D78AF516955}" dt="2023-07-20T14:51:00.348" v="1145" actId="1036"/>
          <ac:spMkLst>
            <pc:docMk/>
            <pc:sldMk cId="4006797568" sldId="2147469235"/>
            <ac:spMk id="72" creationId="{16026530-7F81-4FBA-A1B8-45CB35DEFB58}"/>
          </ac:spMkLst>
        </pc:spChg>
        <pc:spChg chg="mod">
          <ac:chgData name="Lorenzo Negro" userId="f5c1ec43-de79-40b8-82f6-f96ea1916685" providerId="ADAL" clId="{03DDE8F0-7760-6445-82E5-3D78AF516955}" dt="2023-07-20T12:19:49.389" v="479" actId="207"/>
          <ac:spMkLst>
            <pc:docMk/>
            <pc:sldMk cId="4006797568" sldId="2147469235"/>
            <ac:spMk id="84" creationId="{F62EE658-67FD-4F0C-ACDF-C93106DA5EAA}"/>
          </ac:spMkLst>
        </pc:sp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15" creationId="{00000000-0000-0000-0000-000000000000}"/>
          </ac:cxnSpMkLst>
        </pc:cxn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62" creationId="{00000000-0000-0000-0000-000000000000}"/>
          </ac:cxnSpMkLst>
        </pc:cxn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91" creationId="{8BA236D2-271B-4440-B1E1-400FD3D3660A}"/>
          </ac:cxnSpMkLst>
        </pc:cxn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111" creationId="{7F951EEB-5381-46FD-B2B9-439AD8E0DF3E}"/>
          </ac:cxnSpMkLst>
        </pc:cxn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112" creationId="{CBC5C212-40FB-4AC2-B604-47D0545674E5}"/>
          </ac:cxnSpMkLst>
        </pc:cxnChg>
        <pc:cxnChg chg="mod">
          <ac:chgData name="Lorenzo Negro" userId="f5c1ec43-de79-40b8-82f6-f96ea1916685" providerId="ADAL" clId="{03DDE8F0-7760-6445-82E5-3D78AF516955}" dt="2023-07-20T16:18:49.536" v="1158" actId="208"/>
          <ac:cxnSpMkLst>
            <pc:docMk/>
            <pc:sldMk cId="4006797568" sldId="2147469235"/>
            <ac:cxnSpMk id="113" creationId="{4FF615FA-56F8-47BA-91A9-332E085E347D}"/>
          </ac:cxnSpMkLst>
        </pc:cxnChg>
      </pc:sldChg>
      <pc:sldChg chg="modSp mod">
        <pc:chgData name="Lorenzo Negro" userId="f5c1ec43-de79-40b8-82f6-f96ea1916685" providerId="ADAL" clId="{03DDE8F0-7760-6445-82E5-3D78AF516955}" dt="2023-07-20T16:23:43.824" v="1200" actId="18131"/>
        <pc:sldMkLst>
          <pc:docMk/>
          <pc:sldMk cId="134496" sldId="2147469236"/>
        </pc:sldMkLst>
        <pc:spChg chg="mod">
          <ac:chgData name="Lorenzo Negro" userId="f5c1ec43-de79-40b8-82f6-f96ea1916685" providerId="ADAL" clId="{03DDE8F0-7760-6445-82E5-3D78AF516955}" dt="2023-07-20T16:20:42.924" v="1183" actId="404"/>
          <ac:spMkLst>
            <pc:docMk/>
            <pc:sldMk cId="134496" sldId="2147469236"/>
            <ac:spMk id="40" creationId="{0955C3E0-8783-4419-8304-E653AB766C5B}"/>
          </ac:spMkLst>
        </pc:spChg>
        <pc:spChg chg="mod">
          <ac:chgData name="Lorenzo Negro" userId="f5c1ec43-de79-40b8-82f6-f96ea1916685" providerId="ADAL" clId="{03DDE8F0-7760-6445-82E5-3D78AF516955}" dt="2023-07-20T16:20:22.171" v="1176" actId="1035"/>
          <ac:spMkLst>
            <pc:docMk/>
            <pc:sldMk cId="134496" sldId="2147469236"/>
            <ac:spMk id="43" creationId="{D734B258-738F-4AF1-ABB2-102027793E4F}"/>
          </ac:spMkLst>
        </pc:spChg>
        <pc:grpChg chg="mod">
          <ac:chgData name="Lorenzo Negro" userId="f5c1ec43-de79-40b8-82f6-f96ea1916685" providerId="ADAL" clId="{03DDE8F0-7760-6445-82E5-3D78AF516955}" dt="2023-07-20T16:19:43.008" v="1163" actId="1076"/>
          <ac:grpSpMkLst>
            <pc:docMk/>
            <pc:sldMk cId="134496" sldId="2147469236"/>
            <ac:grpSpMk id="42" creationId="{3F05812F-9902-4923-B672-91B97C9B0BD4}"/>
          </ac:grpSpMkLst>
        </pc:grpChg>
        <pc:picChg chg="mod modCrop">
          <ac:chgData name="Lorenzo Negro" userId="f5c1ec43-de79-40b8-82f6-f96ea1916685" providerId="ADAL" clId="{03DDE8F0-7760-6445-82E5-3D78AF516955}" dt="2023-07-20T16:22:07.443" v="1191" actId="554"/>
          <ac:picMkLst>
            <pc:docMk/>
            <pc:sldMk cId="134496" sldId="2147469236"/>
            <ac:picMk id="9" creationId="{5A80E63C-2F13-4968-829D-1AB4577E0A3C}"/>
          </ac:picMkLst>
        </pc:picChg>
        <pc:picChg chg="mod">
          <ac:chgData name="Lorenzo Negro" userId="f5c1ec43-de79-40b8-82f6-f96ea1916685" providerId="ADAL" clId="{03DDE8F0-7760-6445-82E5-3D78AF516955}" dt="2023-07-20T16:22:07.443" v="1191" actId="554"/>
          <ac:picMkLst>
            <pc:docMk/>
            <pc:sldMk cId="134496" sldId="2147469236"/>
            <ac:picMk id="11" creationId="{CD189A69-12CA-458D-AFF6-830930B20BE8}"/>
          </ac:picMkLst>
        </pc:picChg>
        <pc:picChg chg="mod">
          <ac:chgData name="Lorenzo Negro" userId="f5c1ec43-de79-40b8-82f6-f96ea1916685" providerId="ADAL" clId="{03DDE8F0-7760-6445-82E5-3D78AF516955}" dt="2023-07-20T16:22:31.722" v="1195" actId="1076"/>
          <ac:picMkLst>
            <pc:docMk/>
            <pc:sldMk cId="134496" sldId="2147469236"/>
            <ac:picMk id="17" creationId="{3E714940-AA5B-452A-B9E7-503554E80C88}"/>
          </ac:picMkLst>
        </pc:picChg>
        <pc:picChg chg="mod">
          <ac:chgData name="Lorenzo Negro" userId="f5c1ec43-de79-40b8-82f6-f96ea1916685" providerId="ADAL" clId="{03DDE8F0-7760-6445-82E5-3D78AF516955}" dt="2023-07-20T16:22:13.209" v="1192" actId="554"/>
          <ac:picMkLst>
            <pc:docMk/>
            <pc:sldMk cId="134496" sldId="2147469236"/>
            <ac:picMk id="27" creationId="{2033ADFF-3A35-4279-95FD-7F1229C8786E}"/>
          </ac:picMkLst>
        </pc:picChg>
        <pc:picChg chg="mod">
          <ac:chgData name="Lorenzo Negro" userId="f5c1ec43-de79-40b8-82f6-f96ea1916685" providerId="ADAL" clId="{03DDE8F0-7760-6445-82E5-3D78AF516955}" dt="2023-07-20T16:19:54.620" v="1165" actId="1076"/>
          <ac:picMkLst>
            <pc:docMk/>
            <pc:sldMk cId="134496" sldId="2147469236"/>
            <ac:picMk id="44" creationId="{21FE36E3-A788-4C58-8542-A114B39E8233}"/>
          </ac:picMkLst>
        </pc:picChg>
        <pc:picChg chg="mod">
          <ac:chgData name="Lorenzo Negro" userId="f5c1ec43-de79-40b8-82f6-f96ea1916685" providerId="ADAL" clId="{03DDE8F0-7760-6445-82E5-3D78AF516955}" dt="2023-07-20T16:22:31.722" v="1195" actId="1076"/>
          <ac:picMkLst>
            <pc:docMk/>
            <pc:sldMk cId="134496" sldId="2147469236"/>
            <ac:picMk id="47" creationId="{152D76B0-DA32-4A54-A2FB-6449FE2EDC1E}"/>
          </ac:picMkLst>
        </pc:picChg>
        <pc:picChg chg="mod">
          <ac:chgData name="Lorenzo Negro" userId="f5c1ec43-de79-40b8-82f6-f96ea1916685" providerId="ADAL" clId="{03DDE8F0-7760-6445-82E5-3D78AF516955}" dt="2023-07-20T16:22:13.209" v="1192" actId="554"/>
          <ac:picMkLst>
            <pc:docMk/>
            <pc:sldMk cId="134496" sldId="2147469236"/>
            <ac:picMk id="50" creationId="{2CA2D930-CE3B-437E-9EBA-D9761614C7ED}"/>
          </ac:picMkLst>
        </pc:picChg>
        <pc:picChg chg="mod modCrop">
          <ac:chgData name="Lorenzo Negro" userId="f5c1ec43-de79-40b8-82f6-f96ea1916685" providerId="ADAL" clId="{03DDE8F0-7760-6445-82E5-3D78AF516955}" dt="2023-07-20T16:23:03.222" v="1197" actId="1076"/>
          <ac:picMkLst>
            <pc:docMk/>
            <pc:sldMk cId="134496" sldId="2147469236"/>
            <ac:picMk id="58" creationId="{60C5D517-FD97-49DE-B564-CB15C91C747A}"/>
          </ac:picMkLst>
        </pc:picChg>
        <pc:picChg chg="mod modCrop">
          <ac:chgData name="Lorenzo Negro" userId="f5c1ec43-de79-40b8-82f6-f96ea1916685" providerId="ADAL" clId="{03DDE8F0-7760-6445-82E5-3D78AF516955}" dt="2023-07-20T16:23:43.824" v="1200" actId="18131"/>
          <ac:picMkLst>
            <pc:docMk/>
            <pc:sldMk cId="134496" sldId="2147469236"/>
            <ac:picMk id="59" creationId="{49936F37-2E41-4999-932E-8B904274FD94}"/>
          </ac:picMkLst>
        </pc:picChg>
        <pc:picChg chg="mod modCrop">
          <ac:chgData name="Lorenzo Negro" userId="f5c1ec43-de79-40b8-82f6-f96ea1916685" providerId="ADAL" clId="{03DDE8F0-7760-6445-82E5-3D78AF516955}" dt="2023-07-20T16:23:18.477" v="1199" actId="732"/>
          <ac:picMkLst>
            <pc:docMk/>
            <pc:sldMk cId="134496" sldId="2147469236"/>
            <ac:picMk id="60" creationId="{512A8A91-4A90-4922-B127-924897D67659}"/>
          </ac:picMkLst>
        </pc:picChg>
        <pc:picChg chg="mod">
          <ac:chgData name="Lorenzo Negro" userId="f5c1ec43-de79-40b8-82f6-f96ea1916685" providerId="ADAL" clId="{03DDE8F0-7760-6445-82E5-3D78AF516955}" dt="2023-07-20T16:22:07.443" v="1191" actId="554"/>
          <ac:picMkLst>
            <pc:docMk/>
            <pc:sldMk cId="134496" sldId="2147469236"/>
            <ac:picMk id="61" creationId="{CE6705E5-3451-444F-9B72-54FC88829E79}"/>
          </ac:picMkLst>
        </pc:picChg>
        <pc:picChg chg="mod">
          <ac:chgData name="Lorenzo Negro" userId="f5c1ec43-de79-40b8-82f6-f96ea1916685" providerId="ADAL" clId="{03DDE8F0-7760-6445-82E5-3D78AF516955}" dt="2023-07-20T16:22:13.209" v="1192" actId="554"/>
          <ac:picMkLst>
            <pc:docMk/>
            <pc:sldMk cId="134496" sldId="2147469236"/>
            <ac:picMk id="62" creationId="{093E207A-08BE-4229-9BAE-5BA8F30B75E8}"/>
          </ac:picMkLst>
        </pc:picChg>
        <pc:picChg chg="mod">
          <ac:chgData name="Lorenzo Negro" userId="f5c1ec43-de79-40b8-82f6-f96ea1916685" providerId="ADAL" clId="{03DDE8F0-7760-6445-82E5-3D78AF516955}" dt="2023-07-20T16:22:31.722" v="1195" actId="1076"/>
          <ac:picMkLst>
            <pc:docMk/>
            <pc:sldMk cId="134496" sldId="2147469236"/>
            <ac:picMk id="64" creationId="{EB0EC922-5BB0-41B2-9449-DAB75C565BCE}"/>
          </ac:picMkLst>
        </pc:picChg>
        <pc:cxnChg chg="mod">
          <ac:chgData name="Lorenzo Negro" userId="f5c1ec43-de79-40b8-82f6-f96ea1916685" providerId="ADAL" clId="{03DDE8F0-7760-6445-82E5-3D78AF516955}" dt="2023-07-20T16:19:03.637" v="1159" actId="1582"/>
          <ac:cxnSpMkLst>
            <pc:docMk/>
            <pc:sldMk cId="134496" sldId="2147469236"/>
            <ac:cxnSpMk id="15" creationId="{ACEC960D-DADC-4E2F-A474-9F15185A2E44}"/>
          </ac:cxnSpMkLst>
        </pc:cxnChg>
      </pc:sldChg>
      <pc:sldChg chg="addSp delSp modSp mod modClrScheme chgLayout">
        <pc:chgData name="Lorenzo Negro" userId="f5c1ec43-de79-40b8-82f6-f96ea1916685" providerId="ADAL" clId="{03DDE8F0-7760-6445-82E5-3D78AF516955}" dt="2023-07-21T09:06:07.906" v="1345" actId="14826"/>
        <pc:sldMkLst>
          <pc:docMk/>
          <pc:sldMk cId="2399045474" sldId="2147469237"/>
        </pc:sldMkLst>
        <pc:spChg chg="mod ord">
          <ac:chgData name="Lorenzo Negro" userId="f5c1ec43-de79-40b8-82f6-f96ea1916685" providerId="ADAL" clId="{03DDE8F0-7760-6445-82E5-3D78AF516955}" dt="2023-07-21T09:01:48.193" v="1323" actId="700"/>
          <ac:spMkLst>
            <pc:docMk/>
            <pc:sldMk cId="2399045474" sldId="2147469237"/>
            <ac:spMk id="2" creationId="{00000000-0000-0000-0000-000000000000}"/>
          </ac:spMkLst>
        </pc:spChg>
        <pc:spChg chg="add mod">
          <ac:chgData name="Lorenzo Negro" userId="f5c1ec43-de79-40b8-82f6-f96ea1916685" providerId="ADAL" clId="{03DDE8F0-7760-6445-82E5-3D78AF516955}" dt="2023-07-21T09:03:11.620" v="1336" actId="14100"/>
          <ac:spMkLst>
            <pc:docMk/>
            <pc:sldMk cId="2399045474" sldId="2147469237"/>
            <ac:spMk id="4" creationId="{5A1F8ACB-024D-5BB8-E300-94040919C9FE}"/>
          </ac:spMkLst>
        </pc:spChg>
        <pc:spChg chg="add del mod ord">
          <ac:chgData name="Lorenzo Negro" userId="f5c1ec43-de79-40b8-82f6-f96ea1916685" providerId="ADAL" clId="{03DDE8F0-7760-6445-82E5-3D78AF516955}" dt="2023-07-21T09:01:52.248" v="1324" actId="478"/>
          <ac:spMkLst>
            <pc:docMk/>
            <pc:sldMk cId="2399045474" sldId="2147469237"/>
            <ac:spMk id="7" creationId="{9CD400E1-D4F5-6F55-107D-AC08F0B98F25}"/>
          </ac:spMkLst>
        </pc:spChg>
        <pc:spChg chg="mod">
          <ac:chgData name="Lorenzo Negro" userId="f5c1ec43-de79-40b8-82f6-f96ea1916685" providerId="ADAL" clId="{03DDE8F0-7760-6445-82E5-3D78AF516955}" dt="2023-07-21T09:02:58.477" v="1335" actId="14100"/>
          <ac:spMkLst>
            <pc:docMk/>
            <pc:sldMk cId="2399045474" sldId="2147469237"/>
            <ac:spMk id="25" creationId="{CCCB0AE4-DFA2-4D0E-A6C7-95771EAAC8E3}"/>
          </ac:spMkLst>
        </pc:spChg>
        <pc:spChg chg="mod">
          <ac:chgData name="Lorenzo Negro" userId="f5c1ec43-de79-40b8-82f6-f96ea1916685" providerId="ADAL" clId="{03DDE8F0-7760-6445-82E5-3D78AF516955}" dt="2023-07-21T09:01:55.445" v="1328" actId="1036"/>
          <ac:spMkLst>
            <pc:docMk/>
            <pc:sldMk cId="2399045474" sldId="2147469237"/>
            <ac:spMk id="37" creationId="{53121BDF-48EE-42E7-9B7A-017124B31EC6}"/>
          </ac:spMkLst>
        </pc:spChg>
        <pc:spChg chg="mod">
          <ac:chgData name="Lorenzo Negro" userId="f5c1ec43-de79-40b8-82f6-f96ea1916685" providerId="ADAL" clId="{03DDE8F0-7760-6445-82E5-3D78AF516955}" dt="2023-07-21T08:49:54.107" v="1287" actId="14100"/>
          <ac:spMkLst>
            <pc:docMk/>
            <pc:sldMk cId="2399045474" sldId="2147469237"/>
            <ac:spMk id="42" creationId="{4090F057-71B5-4F8A-8950-4E8E2E56C17D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4" creationId="{043534B7-B05A-4DF0-A03D-2F4EC043DD85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5" creationId="{97142FA0-FCCB-407E-A21B-721A8FF63BA1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6" creationId="{B1ACB082-C41F-41A8-8359-2ED85FB46993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7" creationId="{C43DFBEE-1328-47CF-8463-633EEBD6FB32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8" creationId="{866BBF22-9E29-482D-8E00-3F6BB253374D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49" creationId="{E1BADD18-97B7-4D56-9340-15414DA7EE71}"/>
          </ac:spMkLst>
        </pc:spChg>
        <pc:spChg chg="mod">
          <ac:chgData name="Lorenzo Negro" userId="f5c1ec43-de79-40b8-82f6-f96ea1916685" providerId="ADAL" clId="{03DDE8F0-7760-6445-82E5-3D78AF516955}" dt="2023-07-21T08:50:25.366" v="1289" actId="14100"/>
          <ac:spMkLst>
            <pc:docMk/>
            <pc:sldMk cId="2399045474" sldId="2147469237"/>
            <ac:spMk id="50" creationId="{D659C8EA-6B40-4654-B326-A4773B79BC3E}"/>
          </ac:spMkLst>
        </pc:spChg>
        <pc:spChg chg="mod">
          <ac:chgData name="Lorenzo Negro" userId="f5c1ec43-de79-40b8-82f6-f96ea1916685" providerId="ADAL" clId="{03DDE8F0-7760-6445-82E5-3D78AF516955}" dt="2023-07-21T08:50:31.014" v="1290" actId="1037"/>
          <ac:spMkLst>
            <pc:docMk/>
            <pc:sldMk cId="2399045474" sldId="2147469237"/>
            <ac:spMk id="58" creationId="{D46F62B3-C4E3-48E9-BA82-8BEE0297BB14}"/>
          </ac:spMkLst>
        </pc:spChg>
        <pc:grpChg chg="mod">
          <ac:chgData name="Lorenzo Negro" userId="f5c1ec43-de79-40b8-82f6-f96ea1916685" providerId="ADAL" clId="{03DDE8F0-7760-6445-82E5-3D78AF516955}" dt="2023-07-21T09:00:37.395" v="1316" actId="1076"/>
          <ac:grpSpMkLst>
            <pc:docMk/>
            <pc:sldMk cId="2399045474" sldId="2147469237"/>
            <ac:grpSpMk id="41" creationId="{78CD3E6C-9482-4D7E-B6E8-0588E6A61ED7}"/>
          </ac:grpSpMkLst>
        </pc:grpChg>
        <pc:picChg chg="mod">
          <ac:chgData name="Lorenzo Negro" userId="f5c1ec43-de79-40b8-82f6-f96ea1916685" providerId="ADAL" clId="{03DDE8F0-7760-6445-82E5-3D78AF516955}" dt="2023-07-21T09:06:07.906" v="1345" actId="14826"/>
          <ac:picMkLst>
            <pc:docMk/>
            <pc:sldMk cId="2399045474" sldId="2147469237"/>
            <ac:picMk id="22" creationId="{00000000-0000-0000-0000-000000000000}"/>
          </ac:picMkLst>
        </pc:picChg>
        <pc:cxnChg chg="add mod">
          <ac:chgData name="Lorenzo Negro" userId="f5c1ec43-de79-40b8-82f6-f96ea1916685" providerId="ADAL" clId="{03DDE8F0-7760-6445-82E5-3D78AF516955}" dt="2023-07-21T09:02:44.523" v="1334" actId="208"/>
          <ac:cxnSpMkLst>
            <pc:docMk/>
            <pc:sldMk cId="2399045474" sldId="2147469237"/>
            <ac:cxnSpMk id="5" creationId="{0062A52C-17ED-7B05-9E17-B24AF8EF5346}"/>
          </ac:cxnSpMkLst>
        </pc:cxnChg>
      </pc:sldChg>
      <pc:sldChg chg="delSp modSp mod">
        <pc:chgData name="Lorenzo Negro" userId="f5c1ec43-de79-40b8-82f6-f96ea1916685" providerId="ADAL" clId="{03DDE8F0-7760-6445-82E5-3D78AF516955}" dt="2023-07-20T12:36:59.519" v="484" actId="1076"/>
        <pc:sldMkLst>
          <pc:docMk/>
          <pc:sldMk cId="2015279433" sldId="2147469239"/>
        </pc:sldMkLst>
        <pc:spChg chg="mod">
          <ac:chgData name="Lorenzo Negro" userId="f5c1ec43-de79-40b8-82f6-f96ea1916685" providerId="ADAL" clId="{03DDE8F0-7760-6445-82E5-3D78AF516955}" dt="2023-07-20T12:36:36.904" v="483" actId="14100"/>
          <ac:spMkLst>
            <pc:docMk/>
            <pc:sldMk cId="2015279433" sldId="2147469239"/>
            <ac:spMk id="4" creationId="{00000000-0000-0000-0000-000000000000}"/>
          </ac:spMkLst>
        </pc:spChg>
        <pc:spChg chg="mod topLvl">
          <ac:chgData name="Lorenzo Negro" userId="f5c1ec43-de79-40b8-82f6-f96ea1916685" providerId="ADAL" clId="{03DDE8F0-7760-6445-82E5-3D78AF516955}" dt="2023-07-20T12:12:26.292" v="417" actId="553"/>
          <ac:spMkLst>
            <pc:docMk/>
            <pc:sldMk cId="2015279433" sldId="2147469239"/>
            <ac:spMk id="71" creationId="{E9CCA608-F8AF-49E3-861A-21A5741CC937}"/>
          </ac:spMkLst>
        </pc:spChg>
        <pc:spChg chg="mod topLvl">
          <ac:chgData name="Lorenzo Negro" userId="f5c1ec43-de79-40b8-82f6-f96ea1916685" providerId="ADAL" clId="{03DDE8F0-7760-6445-82E5-3D78AF516955}" dt="2023-07-20T12:12:31.683" v="418" actId="1076"/>
          <ac:spMkLst>
            <pc:docMk/>
            <pc:sldMk cId="2015279433" sldId="2147469239"/>
            <ac:spMk id="108" creationId="{B66EF119-0E02-4B08-80E9-EBBA14CCF994}"/>
          </ac:spMkLst>
        </pc:spChg>
        <pc:spChg chg="mod topLvl">
          <ac:chgData name="Lorenzo Negro" userId="f5c1ec43-de79-40b8-82f6-f96ea1916685" providerId="ADAL" clId="{03DDE8F0-7760-6445-82E5-3D78AF516955}" dt="2023-07-20T12:12:51.109" v="423" actId="1037"/>
          <ac:spMkLst>
            <pc:docMk/>
            <pc:sldMk cId="2015279433" sldId="2147469239"/>
            <ac:spMk id="109" creationId="{021AB6E0-8EC7-43A7-8736-B07C748D3FDF}"/>
          </ac:spMkLst>
        </pc:spChg>
        <pc:spChg chg="mod topLvl">
          <ac:chgData name="Lorenzo Negro" userId="f5c1ec43-de79-40b8-82f6-f96ea1916685" providerId="ADAL" clId="{03DDE8F0-7760-6445-82E5-3D78AF516955}" dt="2023-07-20T12:12:26.292" v="417" actId="553"/>
          <ac:spMkLst>
            <pc:docMk/>
            <pc:sldMk cId="2015279433" sldId="2147469239"/>
            <ac:spMk id="110" creationId="{B08D1471-B478-47A4-9B20-2301F09FE818}"/>
          </ac:spMkLst>
        </pc:spChg>
        <pc:spChg chg="mod topLvl">
          <ac:chgData name="Lorenzo Negro" userId="f5c1ec43-de79-40b8-82f6-f96ea1916685" providerId="ADAL" clId="{03DDE8F0-7760-6445-82E5-3D78AF516955}" dt="2023-07-20T12:12:51.109" v="423" actId="1037"/>
          <ac:spMkLst>
            <pc:docMk/>
            <pc:sldMk cId="2015279433" sldId="2147469239"/>
            <ac:spMk id="111" creationId="{3D4984A9-4043-4AC4-AF4B-883B9E59A2DE}"/>
          </ac:spMkLst>
        </pc:spChg>
        <pc:spChg chg="mod topLvl">
          <ac:chgData name="Lorenzo Negro" userId="f5c1ec43-de79-40b8-82f6-f96ea1916685" providerId="ADAL" clId="{03DDE8F0-7760-6445-82E5-3D78AF516955}" dt="2023-07-20T12:12:26.292" v="417" actId="553"/>
          <ac:spMkLst>
            <pc:docMk/>
            <pc:sldMk cId="2015279433" sldId="2147469239"/>
            <ac:spMk id="112" creationId="{EDAE1265-9F4F-4ED9-B995-6E4393F90482}"/>
          </ac:spMkLst>
        </pc:spChg>
        <pc:spChg chg="mod topLvl">
          <ac:chgData name="Lorenzo Negro" userId="f5c1ec43-de79-40b8-82f6-f96ea1916685" providerId="ADAL" clId="{03DDE8F0-7760-6445-82E5-3D78AF516955}" dt="2023-07-20T12:12:54.253" v="425" actId="20577"/>
          <ac:spMkLst>
            <pc:docMk/>
            <pc:sldMk cId="2015279433" sldId="2147469239"/>
            <ac:spMk id="113" creationId="{5441313D-AEA2-4CAE-9DF6-7D04CAAAF47F}"/>
          </ac:spMkLst>
        </pc:spChg>
        <pc:spChg chg="mod topLvl">
          <ac:chgData name="Lorenzo Negro" userId="f5c1ec43-de79-40b8-82f6-f96ea1916685" providerId="ADAL" clId="{03DDE8F0-7760-6445-82E5-3D78AF516955}" dt="2023-07-20T12:12:51.109" v="423" actId="1037"/>
          <ac:spMkLst>
            <pc:docMk/>
            <pc:sldMk cId="2015279433" sldId="2147469239"/>
            <ac:spMk id="124" creationId="{3E915977-F02B-411C-9425-E4835FAE06E9}"/>
          </ac:spMkLst>
        </pc:spChg>
        <pc:grpChg chg="del">
          <ac:chgData name="Lorenzo Negro" userId="f5c1ec43-de79-40b8-82f6-f96ea1916685" providerId="ADAL" clId="{03DDE8F0-7760-6445-82E5-3D78AF516955}" dt="2023-07-20T08:50:11.190" v="406" actId="165"/>
          <ac:grpSpMkLst>
            <pc:docMk/>
            <pc:sldMk cId="2015279433" sldId="2147469239"/>
            <ac:grpSpMk id="8" creationId="{00000000-0000-0000-0000-000000000000}"/>
          </ac:grpSpMkLst>
        </pc:grpChg>
        <pc:grpChg chg="del">
          <ac:chgData name="Lorenzo Negro" userId="f5c1ec43-de79-40b8-82f6-f96ea1916685" providerId="ADAL" clId="{03DDE8F0-7760-6445-82E5-3D78AF516955}" dt="2023-07-20T08:50:11.190" v="406" actId="165"/>
          <ac:grpSpMkLst>
            <pc:docMk/>
            <pc:sldMk cId="2015279433" sldId="2147469239"/>
            <ac:grpSpMk id="9" creationId="{00000000-0000-0000-0000-000000000000}"/>
          </ac:grpSpMkLst>
        </pc:grpChg>
        <pc:grpChg chg="del">
          <ac:chgData name="Lorenzo Negro" userId="f5c1ec43-de79-40b8-82f6-f96ea1916685" providerId="ADAL" clId="{03DDE8F0-7760-6445-82E5-3D78AF516955}" dt="2023-07-20T08:50:11.190" v="406" actId="165"/>
          <ac:grpSpMkLst>
            <pc:docMk/>
            <pc:sldMk cId="2015279433" sldId="2147469239"/>
            <ac:grpSpMk id="11" creationId="{00000000-0000-0000-0000-000000000000}"/>
          </ac:grpSpMkLst>
        </pc:grpChg>
        <pc:grpChg chg="del">
          <ac:chgData name="Lorenzo Negro" userId="f5c1ec43-de79-40b8-82f6-f96ea1916685" providerId="ADAL" clId="{03DDE8F0-7760-6445-82E5-3D78AF516955}" dt="2023-07-20T08:50:11.190" v="406" actId="165"/>
          <ac:grpSpMkLst>
            <pc:docMk/>
            <pc:sldMk cId="2015279433" sldId="2147469239"/>
            <ac:grpSpMk id="20" creationId="{00000000-0000-0000-0000-000000000000}"/>
          </ac:grpSpMkLst>
        </pc:grp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5" creationId="{79870475-7D24-4791-90D5-C55547C195F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10" creationId="{00000000-0000-0000-0000-00000000000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12" creationId="{00000000-0000-0000-0000-00000000000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15" creationId="{00000000-0000-0000-0000-00000000000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17" creationId="{00000000-0000-0000-0000-00000000000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18" creationId="{00000000-0000-0000-0000-000000000000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21" creationId="{403AF52D-8797-4B2E-8C5A-C60A0CB326C6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22" creationId="{A7921347-C779-4AA4-8C13-DB591E20019E}"/>
          </ac:picMkLst>
        </pc:picChg>
        <pc:picChg chg="mod">
          <ac:chgData name="Lorenzo Negro" userId="f5c1ec43-de79-40b8-82f6-f96ea1916685" providerId="ADAL" clId="{03DDE8F0-7760-6445-82E5-3D78AF516955}" dt="2023-07-20T12:36:59.519" v="484" actId="1076"/>
          <ac:picMkLst>
            <pc:docMk/>
            <pc:sldMk cId="2015279433" sldId="2147469239"/>
            <ac:picMk id="23" creationId="{CC6F3EDD-601D-4A4F-B5B7-7A7FB4D41DB1}"/>
          </ac:picMkLst>
        </pc:picChg>
      </pc:sldChg>
      <pc:sldChg chg="modSp mod">
        <pc:chgData name="Lorenzo Negro" userId="f5c1ec43-de79-40b8-82f6-f96ea1916685" providerId="ADAL" clId="{03DDE8F0-7760-6445-82E5-3D78AF516955}" dt="2023-07-20T12:17:45.337" v="469" actId="1035"/>
        <pc:sldMkLst>
          <pc:docMk/>
          <pc:sldMk cId="1261849475" sldId="2147469240"/>
        </pc:sldMkLst>
        <pc:spChg chg="mod">
          <ac:chgData name="Lorenzo Negro" userId="f5c1ec43-de79-40b8-82f6-f96ea1916685" providerId="ADAL" clId="{03DDE8F0-7760-6445-82E5-3D78AF516955}" dt="2023-07-20T12:17:37.732" v="466" actId="1076"/>
          <ac:spMkLst>
            <pc:docMk/>
            <pc:sldMk cId="1261849475" sldId="2147469240"/>
            <ac:spMk id="5" creationId="{C5FEF374-64A4-4372-298B-D464C5394CA0}"/>
          </ac:spMkLst>
        </pc:spChg>
        <pc:spChg chg="mod">
          <ac:chgData name="Lorenzo Negro" userId="f5c1ec43-de79-40b8-82f6-f96ea1916685" providerId="ADAL" clId="{03DDE8F0-7760-6445-82E5-3D78AF516955}" dt="2023-07-20T12:17:45.337" v="469" actId="1035"/>
          <ac:spMkLst>
            <pc:docMk/>
            <pc:sldMk cId="1261849475" sldId="2147469240"/>
            <ac:spMk id="51" creationId="{916539F6-7E53-41EA-9C60-F885BBC8AD22}"/>
          </ac:spMkLst>
        </pc:spChg>
        <pc:spChg chg="mod">
          <ac:chgData name="Lorenzo Negro" userId="f5c1ec43-de79-40b8-82f6-f96ea1916685" providerId="ADAL" clId="{03DDE8F0-7760-6445-82E5-3D78AF516955}" dt="2023-07-20T12:17:29.490" v="463" actId="1076"/>
          <ac:spMkLst>
            <pc:docMk/>
            <pc:sldMk cId="1261849475" sldId="2147469240"/>
            <ac:spMk id="56" creationId="{D01A283D-BA81-4149-96B8-39F30F3963F1}"/>
          </ac:spMkLst>
        </pc:spChg>
        <pc:spChg chg="mod">
          <ac:chgData name="Lorenzo Negro" userId="f5c1ec43-de79-40b8-82f6-f96ea1916685" providerId="ADAL" clId="{03DDE8F0-7760-6445-82E5-3D78AF516955}" dt="2023-07-20T12:17:33.155" v="464" actId="1076"/>
          <ac:spMkLst>
            <pc:docMk/>
            <pc:sldMk cId="1261849475" sldId="2147469240"/>
            <ac:spMk id="67" creationId="{F70AE2CB-9E72-4C82-A160-97747B229E20}"/>
          </ac:spMkLst>
        </pc:spChg>
      </pc:sldChg>
      <pc:sldChg chg="addSp delSp modSp mod">
        <pc:chgData name="Lorenzo Negro" userId="f5c1ec43-de79-40b8-82f6-f96ea1916685" providerId="ADAL" clId="{03DDE8F0-7760-6445-82E5-3D78AF516955}" dt="2023-07-21T08:45:34.108" v="1254" actId="478"/>
        <pc:sldMkLst>
          <pc:docMk/>
          <pc:sldMk cId="1822193282" sldId="2147469241"/>
        </pc:sldMkLst>
        <pc:spChg chg="add mod">
          <ac:chgData name="Lorenzo Negro" userId="f5c1ec43-de79-40b8-82f6-f96ea1916685" providerId="ADAL" clId="{03DDE8F0-7760-6445-82E5-3D78AF516955}" dt="2023-07-20T07:48:24.005" v="9" actId="207"/>
          <ac:spMkLst>
            <pc:docMk/>
            <pc:sldMk cId="1822193282" sldId="2147469241"/>
            <ac:spMk id="2" creationId="{765419CE-F2B1-57FB-27FA-469A73985EC5}"/>
          </ac:spMkLst>
        </pc:spChg>
        <pc:spChg chg="mod">
          <ac:chgData name="Lorenzo Negro" userId="f5c1ec43-de79-40b8-82f6-f96ea1916685" providerId="ADAL" clId="{03DDE8F0-7760-6445-82E5-3D78AF516955}" dt="2023-07-20T08:31:25.027" v="286" actId="1076"/>
          <ac:spMkLst>
            <pc:docMk/>
            <pc:sldMk cId="1822193282" sldId="2147469241"/>
            <ac:spMk id="15" creationId="{00000000-0000-0000-0000-000000000000}"/>
          </ac:spMkLst>
        </pc:spChg>
        <pc:spChg chg="mod">
          <ac:chgData name="Lorenzo Negro" userId="f5c1ec43-de79-40b8-82f6-f96ea1916685" providerId="ADAL" clId="{03DDE8F0-7760-6445-82E5-3D78AF516955}" dt="2023-07-20T08:15:23.992" v="163" actId="255"/>
          <ac:spMkLst>
            <pc:docMk/>
            <pc:sldMk cId="1822193282" sldId="2147469241"/>
            <ac:spMk id="29" creationId="{F775D030-AAED-400C-B0B8-58A7ED43890C}"/>
          </ac:spMkLst>
        </pc:spChg>
        <pc:spChg chg="mod">
          <ac:chgData name="Lorenzo Negro" userId="f5c1ec43-de79-40b8-82f6-f96ea1916685" providerId="ADAL" clId="{03DDE8F0-7760-6445-82E5-3D78AF516955}" dt="2023-07-20T07:49:35.478" v="11" actId="1038"/>
          <ac:spMkLst>
            <pc:docMk/>
            <pc:sldMk cId="1822193282" sldId="2147469241"/>
            <ac:spMk id="32" creationId="{82A240BC-84C8-4F15-9A74-DD73CBD96245}"/>
          </ac:spMkLst>
        </pc:spChg>
        <pc:spChg chg="mod">
          <ac:chgData name="Lorenzo Negro" userId="f5c1ec43-de79-40b8-82f6-f96ea1916685" providerId="ADAL" clId="{03DDE8F0-7760-6445-82E5-3D78AF516955}" dt="2023-07-20T08:16:33.111" v="172" actId="20577"/>
          <ac:spMkLst>
            <pc:docMk/>
            <pc:sldMk cId="1822193282" sldId="2147469241"/>
            <ac:spMk id="34" creationId="{CC0A1F0B-0B8E-4C7E-976B-AB8CFCE6B676}"/>
          </ac:spMkLst>
        </pc:spChg>
        <pc:spChg chg="mod">
          <ac:chgData name="Lorenzo Negro" userId="f5c1ec43-de79-40b8-82f6-f96ea1916685" providerId="ADAL" clId="{03DDE8F0-7760-6445-82E5-3D78AF516955}" dt="2023-07-20T08:17:33.246" v="181" actId="1076"/>
          <ac:spMkLst>
            <pc:docMk/>
            <pc:sldMk cId="1822193282" sldId="2147469241"/>
            <ac:spMk id="35" creationId="{1ED9CBCB-1C13-4B10-B740-73475382568B}"/>
          </ac:spMkLst>
        </pc:spChg>
        <pc:spChg chg="mod">
          <ac:chgData name="Lorenzo Negro" userId="f5c1ec43-de79-40b8-82f6-f96ea1916685" providerId="ADAL" clId="{03DDE8F0-7760-6445-82E5-3D78AF516955}" dt="2023-07-20T08:06:35.099" v="138" actId="20577"/>
          <ac:spMkLst>
            <pc:docMk/>
            <pc:sldMk cId="1822193282" sldId="2147469241"/>
            <ac:spMk id="36" creationId="{ECEF6695-BA19-445F-8223-C9F83948C945}"/>
          </ac:spMkLst>
        </pc:spChg>
        <pc:spChg chg="mod">
          <ac:chgData name="Lorenzo Negro" userId="f5c1ec43-de79-40b8-82f6-f96ea1916685" providerId="ADAL" clId="{03DDE8F0-7760-6445-82E5-3D78AF516955}" dt="2023-07-20T07:49:35.478" v="11" actId="1038"/>
          <ac:spMkLst>
            <pc:docMk/>
            <pc:sldMk cId="1822193282" sldId="2147469241"/>
            <ac:spMk id="37" creationId="{3AD220A9-008F-49F1-9C25-08ABE53F45F2}"/>
          </ac:spMkLst>
        </pc:spChg>
        <pc:spChg chg="mod">
          <ac:chgData name="Lorenzo Negro" userId="f5c1ec43-de79-40b8-82f6-f96ea1916685" providerId="ADAL" clId="{03DDE8F0-7760-6445-82E5-3D78AF516955}" dt="2023-07-20T08:15:10.738" v="161" actId="1076"/>
          <ac:spMkLst>
            <pc:docMk/>
            <pc:sldMk cId="1822193282" sldId="2147469241"/>
            <ac:spMk id="39" creationId="{9CD177C3-D740-4FED-94D4-0C1E5B2550D0}"/>
          </ac:spMkLst>
        </pc:spChg>
        <pc:spChg chg="mod">
          <ac:chgData name="Lorenzo Negro" userId="f5c1ec43-de79-40b8-82f6-f96ea1916685" providerId="ADAL" clId="{03DDE8F0-7760-6445-82E5-3D78AF516955}" dt="2023-07-20T08:15:53.931" v="164" actId="404"/>
          <ac:spMkLst>
            <pc:docMk/>
            <pc:sldMk cId="1822193282" sldId="2147469241"/>
            <ac:spMk id="45" creationId="{BFD4010D-AE53-4EE3-9DD7-6653CF85B23A}"/>
          </ac:spMkLst>
        </pc:spChg>
        <pc:spChg chg="mod">
          <ac:chgData name="Lorenzo Negro" userId="f5c1ec43-de79-40b8-82f6-f96ea1916685" providerId="ADAL" clId="{03DDE8F0-7760-6445-82E5-3D78AF516955}" dt="2023-07-20T08:16:08.210" v="167" actId="404"/>
          <ac:spMkLst>
            <pc:docMk/>
            <pc:sldMk cId="1822193282" sldId="2147469241"/>
            <ac:spMk id="46" creationId="{3B7703F0-6EAF-4D86-9B67-333694117E49}"/>
          </ac:spMkLst>
        </pc:spChg>
        <pc:spChg chg="mod">
          <ac:chgData name="Lorenzo Negro" userId="f5c1ec43-de79-40b8-82f6-f96ea1916685" providerId="ADAL" clId="{03DDE8F0-7760-6445-82E5-3D78AF516955}" dt="2023-07-20T08:17:33.246" v="181" actId="1076"/>
          <ac:spMkLst>
            <pc:docMk/>
            <pc:sldMk cId="1822193282" sldId="2147469241"/>
            <ac:spMk id="47" creationId="{FF6E482B-0068-4E30-B43E-D249A4581C2A}"/>
          </ac:spMkLst>
        </pc:spChg>
        <pc:spChg chg="mod">
          <ac:chgData name="Lorenzo Negro" userId="f5c1ec43-de79-40b8-82f6-f96ea1916685" providerId="ADAL" clId="{03DDE8F0-7760-6445-82E5-3D78AF516955}" dt="2023-07-20T07:49:35.478" v="11" actId="1038"/>
          <ac:spMkLst>
            <pc:docMk/>
            <pc:sldMk cId="1822193282" sldId="2147469241"/>
            <ac:spMk id="48" creationId="{21531411-3BCA-42E4-ABFA-33F311C77788}"/>
          </ac:spMkLst>
        </pc:spChg>
        <pc:spChg chg="mod">
          <ac:chgData name="Lorenzo Negro" userId="f5c1ec43-de79-40b8-82f6-f96ea1916685" providerId="ADAL" clId="{03DDE8F0-7760-6445-82E5-3D78AF516955}" dt="2023-07-20T08:34:02.999" v="295" actId="1038"/>
          <ac:spMkLst>
            <pc:docMk/>
            <pc:sldMk cId="1822193282" sldId="2147469241"/>
            <ac:spMk id="49" creationId="{EE412FD8-5B6D-45D8-9CC4-7C63965A8586}"/>
          </ac:spMkLst>
        </pc:spChg>
        <pc:spChg chg="mod">
          <ac:chgData name="Lorenzo Negro" userId="f5c1ec43-de79-40b8-82f6-f96ea1916685" providerId="ADAL" clId="{03DDE8F0-7760-6445-82E5-3D78AF516955}" dt="2023-07-20T08:06:38.864" v="139" actId="20577"/>
          <ac:spMkLst>
            <pc:docMk/>
            <pc:sldMk cId="1822193282" sldId="2147469241"/>
            <ac:spMk id="52" creationId="{A7FD869A-55E5-4288-847A-EBB9D4608563}"/>
          </ac:spMkLst>
        </pc:spChg>
        <pc:spChg chg="mod">
          <ac:chgData name="Lorenzo Negro" userId="f5c1ec43-de79-40b8-82f6-f96ea1916685" providerId="ADAL" clId="{03DDE8F0-7760-6445-82E5-3D78AF516955}" dt="2023-07-20T08:32:42.900" v="291" actId="20577"/>
          <ac:spMkLst>
            <pc:docMk/>
            <pc:sldMk cId="1822193282" sldId="2147469241"/>
            <ac:spMk id="53" creationId="{05254FF3-1CA5-484F-A639-4A1EE11F6587}"/>
          </ac:spMkLst>
        </pc:spChg>
        <pc:spChg chg="mod">
          <ac:chgData name="Lorenzo Negro" userId="f5c1ec43-de79-40b8-82f6-f96ea1916685" providerId="ADAL" clId="{03DDE8F0-7760-6445-82E5-3D78AF516955}" dt="2023-07-20T08:32:56.564" v="294" actId="20577"/>
          <ac:spMkLst>
            <pc:docMk/>
            <pc:sldMk cId="1822193282" sldId="2147469241"/>
            <ac:spMk id="57" creationId="{9634438A-8164-4A8A-98CF-18C9587B1BCB}"/>
          </ac:spMkLst>
        </pc:spChg>
        <pc:spChg chg="mod">
          <ac:chgData name="Lorenzo Negro" userId="f5c1ec43-de79-40b8-82f6-f96ea1916685" providerId="ADAL" clId="{03DDE8F0-7760-6445-82E5-3D78AF516955}" dt="2023-07-20T08:34:05.504" v="296" actId="1038"/>
          <ac:spMkLst>
            <pc:docMk/>
            <pc:sldMk cId="1822193282" sldId="2147469241"/>
            <ac:spMk id="59" creationId="{D897C0A5-C989-432C-9336-F126081F4455}"/>
          </ac:spMkLst>
        </pc:spChg>
        <pc:spChg chg="mod">
          <ac:chgData name="Lorenzo Negro" userId="f5c1ec43-de79-40b8-82f6-f96ea1916685" providerId="ADAL" clId="{03DDE8F0-7760-6445-82E5-3D78AF516955}" dt="2023-07-20T07:49:35.478" v="11" actId="1038"/>
          <ac:spMkLst>
            <pc:docMk/>
            <pc:sldMk cId="1822193282" sldId="2147469241"/>
            <ac:spMk id="64" creationId="{B2C9EF0F-D014-4EBE-BF04-5CF6A543136F}"/>
          </ac:spMkLst>
        </pc:spChg>
        <pc:spChg chg="mod">
          <ac:chgData name="Lorenzo Negro" userId="f5c1ec43-de79-40b8-82f6-f96ea1916685" providerId="ADAL" clId="{03DDE8F0-7760-6445-82E5-3D78AF516955}" dt="2023-07-20T08:06:24.766" v="137" actId="12788"/>
          <ac:spMkLst>
            <pc:docMk/>
            <pc:sldMk cId="1822193282" sldId="2147469241"/>
            <ac:spMk id="67" creationId="{E56FA91E-A96D-4255-8B9F-9FA75D207B73}"/>
          </ac:spMkLst>
        </pc:spChg>
        <pc:spChg chg="mod">
          <ac:chgData name="Lorenzo Negro" userId="f5c1ec43-de79-40b8-82f6-f96ea1916685" providerId="ADAL" clId="{03DDE8F0-7760-6445-82E5-3D78AF516955}" dt="2023-07-20T08:15:10.738" v="161" actId="1076"/>
          <ac:spMkLst>
            <pc:docMk/>
            <pc:sldMk cId="1822193282" sldId="2147469241"/>
            <ac:spMk id="68" creationId="{8F0144E4-1D50-4E25-BD3B-ABD213D78C0C}"/>
          </ac:spMkLst>
        </pc:spChg>
        <pc:spChg chg="mod">
          <ac:chgData name="Lorenzo Negro" userId="f5c1ec43-de79-40b8-82f6-f96ea1916685" providerId="ADAL" clId="{03DDE8F0-7760-6445-82E5-3D78AF516955}" dt="2023-07-20T08:17:33.246" v="181" actId="1076"/>
          <ac:spMkLst>
            <pc:docMk/>
            <pc:sldMk cId="1822193282" sldId="2147469241"/>
            <ac:spMk id="69" creationId="{9EBFD1EF-D97A-423B-8A08-203F37750F42}"/>
          </ac:spMkLst>
        </pc:spChg>
        <pc:spChg chg="mod">
          <ac:chgData name="Lorenzo Negro" userId="f5c1ec43-de79-40b8-82f6-f96ea1916685" providerId="ADAL" clId="{03DDE8F0-7760-6445-82E5-3D78AF516955}" dt="2023-07-20T08:34:11.604" v="297" actId="1038"/>
          <ac:spMkLst>
            <pc:docMk/>
            <pc:sldMk cId="1822193282" sldId="2147469241"/>
            <ac:spMk id="70" creationId="{1CAA82E4-4BA1-40D7-AAA0-E4ACB601FF7F}"/>
          </ac:spMkLst>
        </pc:spChg>
        <pc:spChg chg="mod">
          <ac:chgData name="Lorenzo Negro" userId="f5c1ec43-de79-40b8-82f6-f96ea1916685" providerId="ADAL" clId="{03DDE8F0-7760-6445-82E5-3D78AF516955}" dt="2023-07-20T08:31:28.485" v="287" actId="1076"/>
          <ac:spMkLst>
            <pc:docMk/>
            <pc:sldMk cId="1822193282" sldId="2147469241"/>
            <ac:spMk id="71" creationId="{DA4D79DF-10FC-4F99-B3B1-7BBD5F204149}"/>
          </ac:spMkLst>
        </pc:spChg>
        <pc:spChg chg="mod">
          <ac:chgData name="Lorenzo Negro" userId="f5c1ec43-de79-40b8-82f6-f96ea1916685" providerId="ADAL" clId="{03DDE8F0-7760-6445-82E5-3D78AF516955}" dt="2023-07-20T08:31:19.376" v="284" actId="1037"/>
          <ac:spMkLst>
            <pc:docMk/>
            <pc:sldMk cId="1822193282" sldId="2147469241"/>
            <ac:spMk id="73" creationId="{6B7ED06E-8DE9-45CD-9BA3-DD9B330FB797}"/>
          </ac:spMkLst>
        </pc:spChg>
        <pc:spChg chg="mod">
          <ac:chgData name="Lorenzo Negro" userId="f5c1ec43-de79-40b8-82f6-f96ea1916685" providerId="ADAL" clId="{03DDE8F0-7760-6445-82E5-3D78AF516955}" dt="2023-07-20T07:48:05.811" v="5" actId="21"/>
          <ac:spMkLst>
            <pc:docMk/>
            <pc:sldMk cId="1822193282" sldId="2147469241"/>
            <ac:spMk id="74" creationId="{AFEC3D03-0B55-4E19-B849-7D9736DA6C5B}"/>
          </ac:spMkLst>
        </pc:spChg>
        <pc:spChg chg="mod">
          <ac:chgData name="Lorenzo Negro" userId="f5c1ec43-de79-40b8-82f6-f96ea1916685" providerId="ADAL" clId="{03DDE8F0-7760-6445-82E5-3D78AF516955}" dt="2023-07-20T08:17:44.127" v="185" actId="1038"/>
          <ac:spMkLst>
            <pc:docMk/>
            <pc:sldMk cId="1822193282" sldId="2147469241"/>
            <ac:spMk id="88" creationId="{CB65D559-C9FB-4139-8575-42ECF68DAB65}"/>
          </ac:spMkLst>
        </pc:spChg>
        <pc:spChg chg="mod">
          <ac:chgData name="Lorenzo Negro" userId="f5c1ec43-de79-40b8-82f6-f96ea1916685" providerId="ADAL" clId="{03DDE8F0-7760-6445-82E5-3D78AF516955}" dt="2023-07-20T07:49:35.478" v="11" actId="1038"/>
          <ac:spMkLst>
            <pc:docMk/>
            <pc:sldMk cId="1822193282" sldId="2147469241"/>
            <ac:spMk id="89" creationId="{F83CDACB-C220-4849-8F1B-5DCD4474EF55}"/>
          </ac:spMkLst>
        </pc:spChg>
        <pc:spChg chg="mod">
          <ac:chgData name="Lorenzo Negro" userId="f5c1ec43-de79-40b8-82f6-f96ea1916685" providerId="ADAL" clId="{03DDE8F0-7760-6445-82E5-3D78AF516955}" dt="2023-07-20T08:16:05.698" v="166" actId="404"/>
          <ac:spMkLst>
            <pc:docMk/>
            <pc:sldMk cId="1822193282" sldId="2147469241"/>
            <ac:spMk id="90" creationId="{A6D8685E-EC99-4218-A92A-C53773A34C30}"/>
          </ac:spMkLst>
        </pc:spChg>
        <pc:spChg chg="mod">
          <ac:chgData name="Lorenzo Negro" userId="f5c1ec43-de79-40b8-82f6-f96ea1916685" providerId="ADAL" clId="{03DDE8F0-7760-6445-82E5-3D78AF516955}" dt="2023-07-20T08:30:39.448" v="282" actId="255"/>
          <ac:spMkLst>
            <pc:docMk/>
            <pc:sldMk cId="1822193282" sldId="2147469241"/>
            <ac:spMk id="91" creationId="{85A6C902-B2ED-4548-A9F7-56998C299EA5}"/>
          </ac:spMkLst>
        </pc:spChg>
        <pc:spChg chg="mod">
          <ac:chgData name="Lorenzo Negro" userId="f5c1ec43-de79-40b8-82f6-f96ea1916685" providerId="ADAL" clId="{03DDE8F0-7760-6445-82E5-3D78AF516955}" dt="2023-07-20T08:30:39.448" v="282" actId="255"/>
          <ac:spMkLst>
            <pc:docMk/>
            <pc:sldMk cId="1822193282" sldId="2147469241"/>
            <ac:spMk id="92" creationId="{4F94460B-4067-40DA-A48B-3BAAAE38BCAB}"/>
          </ac:spMkLst>
        </pc:spChg>
        <pc:grpChg chg="del">
          <ac:chgData name="Lorenzo Negro" userId="f5c1ec43-de79-40b8-82f6-f96ea1916685" providerId="ADAL" clId="{03DDE8F0-7760-6445-82E5-3D78AF516955}" dt="2023-07-21T08:45:34.108" v="1254" actId="478"/>
          <ac:grpSpMkLst>
            <pc:docMk/>
            <pc:sldMk cId="1822193282" sldId="2147469241"/>
            <ac:grpSpMk id="55" creationId="{1AB78D0C-0491-4988-B0E3-1AB740D69CAD}"/>
          </ac:grpSpMkLst>
        </pc:grpChg>
        <pc:picChg chg="mod">
          <ac:chgData name="Lorenzo Negro" userId="f5c1ec43-de79-40b8-82f6-f96ea1916685" providerId="ADAL" clId="{03DDE8F0-7760-6445-82E5-3D78AF516955}" dt="2023-07-20T07:55:09.605" v="86" actId="554"/>
          <ac:picMkLst>
            <pc:docMk/>
            <pc:sldMk cId="1822193282" sldId="2147469241"/>
            <ac:picMk id="9" creationId="{00000000-0000-0000-0000-000000000000}"/>
          </ac:picMkLst>
        </pc:picChg>
        <pc:cxnChg chg="add del mod">
          <ac:chgData name="Lorenzo Negro" userId="f5c1ec43-de79-40b8-82f6-f96ea1916685" providerId="ADAL" clId="{03DDE8F0-7760-6445-82E5-3D78AF516955}" dt="2023-07-20T08:34:34.649" v="299" actId="478"/>
          <ac:cxnSpMkLst>
            <pc:docMk/>
            <pc:sldMk cId="1822193282" sldId="2147469241"/>
            <ac:cxnSpMk id="3" creationId="{01A3EFF8-4AD3-E71D-563C-9A93C1AE6E5A}"/>
          </ac:cxnSpMkLst>
        </pc:cxnChg>
        <pc:cxnChg chg="del">
          <ac:chgData name="Lorenzo Negro" userId="f5c1ec43-de79-40b8-82f6-f96ea1916685" providerId="ADAL" clId="{03DDE8F0-7760-6445-82E5-3D78AF516955}" dt="2023-07-20T07:54:48.173" v="83" actId="478"/>
          <ac:cxnSpMkLst>
            <pc:docMk/>
            <pc:sldMk cId="1822193282" sldId="2147469241"/>
            <ac:cxnSpMk id="87" creationId="{F53CBD10-BB07-4EB2-A627-3673C3CF9011}"/>
          </ac:cxnSpMkLst>
        </pc:cxnChg>
      </pc:sldChg>
      <pc:sldChg chg="add del">
        <pc:chgData name="Lorenzo Negro" userId="f5c1ec43-de79-40b8-82f6-f96ea1916685" providerId="ADAL" clId="{03DDE8F0-7760-6445-82E5-3D78AF516955}" dt="2023-07-20T14:31:54.302" v="1076" actId="2696"/>
        <pc:sldMkLst>
          <pc:docMk/>
          <pc:sldMk cId="1660023761" sldId="2147469242"/>
        </pc:sldMkLst>
      </pc:sldChg>
      <pc:sldChg chg="addSp delSp modSp add del mod">
        <pc:chgData name="Lorenzo Negro" userId="f5c1ec43-de79-40b8-82f6-f96ea1916685" providerId="ADAL" clId="{03DDE8F0-7760-6445-82E5-3D78AF516955}" dt="2023-07-21T11:27:30.101" v="1950" actId="2696"/>
        <pc:sldMkLst>
          <pc:docMk/>
          <pc:sldMk cId="1926547925" sldId="2147469242"/>
        </pc:sldMkLst>
        <pc:spChg chg="mod">
          <ac:chgData name="Lorenzo Negro" userId="f5c1ec43-de79-40b8-82f6-f96ea1916685" providerId="ADAL" clId="{03DDE8F0-7760-6445-82E5-3D78AF516955}" dt="2023-07-21T09:33:02.156" v="1614" actId="207"/>
          <ac:spMkLst>
            <pc:docMk/>
            <pc:sldMk cId="1926547925" sldId="2147469242"/>
            <ac:spMk id="4" creationId="{D746BEB9-B347-48D8-B98E-CD692781D7C8}"/>
          </ac:spMkLst>
        </pc:spChg>
        <pc:spChg chg="mod">
          <ac:chgData name="Lorenzo Negro" userId="f5c1ec43-de79-40b8-82f6-f96ea1916685" providerId="ADAL" clId="{03DDE8F0-7760-6445-82E5-3D78AF516955}" dt="2023-07-21T09:17:44.036" v="1405" actId="1076"/>
          <ac:spMkLst>
            <pc:docMk/>
            <pc:sldMk cId="1926547925" sldId="2147469242"/>
            <ac:spMk id="10" creationId="{7B89E97C-E226-25CB-D181-6DE80C6B5B77}"/>
          </ac:spMkLst>
        </pc:spChg>
        <pc:spChg chg="mod">
          <ac:chgData name="Lorenzo Negro" userId="f5c1ec43-de79-40b8-82f6-f96ea1916685" providerId="ADAL" clId="{03DDE8F0-7760-6445-82E5-3D78AF516955}" dt="2023-07-21T09:17:44.036" v="1405" actId="1076"/>
          <ac:spMkLst>
            <pc:docMk/>
            <pc:sldMk cId="1926547925" sldId="2147469242"/>
            <ac:spMk id="12" creationId="{77AFA412-7C7B-63D5-D7A9-C4A8A006D13F}"/>
          </ac:spMkLst>
        </pc:spChg>
        <pc:spChg chg="mod">
          <ac:chgData name="Lorenzo Negro" userId="f5c1ec43-de79-40b8-82f6-f96ea1916685" providerId="ADAL" clId="{03DDE8F0-7760-6445-82E5-3D78AF516955}" dt="2023-07-21T09:17:48.471" v="1407"/>
          <ac:spMkLst>
            <pc:docMk/>
            <pc:sldMk cId="1926547925" sldId="2147469242"/>
            <ac:spMk id="20" creationId="{7D9D93A7-103D-2B18-3FE5-6436C4FF0F46}"/>
          </ac:spMkLst>
        </pc:spChg>
        <pc:spChg chg="mod">
          <ac:chgData name="Lorenzo Negro" userId="f5c1ec43-de79-40b8-82f6-f96ea1916685" providerId="ADAL" clId="{03DDE8F0-7760-6445-82E5-3D78AF516955}" dt="2023-07-21T09:17:48.471" v="1407"/>
          <ac:spMkLst>
            <pc:docMk/>
            <pc:sldMk cId="1926547925" sldId="2147469242"/>
            <ac:spMk id="22" creationId="{6F5A2138-4CA6-3016-DD7D-D9DAC61F76D7}"/>
          </ac:spMkLst>
        </pc:spChg>
        <pc:spChg chg="mod">
          <ac:chgData name="Lorenzo Negro" userId="f5c1ec43-de79-40b8-82f6-f96ea1916685" providerId="ADAL" clId="{03DDE8F0-7760-6445-82E5-3D78AF516955}" dt="2023-07-21T09:34:36.496" v="1670" actId="1076"/>
          <ac:spMkLst>
            <pc:docMk/>
            <pc:sldMk cId="1926547925" sldId="2147469242"/>
            <ac:spMk id="26" creationId="{BCA2836A-BD34-44E5-834D-61BA07F77D2D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27" creationId="{A5748A33-590B-4FD4-8503-D73D242094BF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28" creationId="{01B2F7C9-AC07-443C-8097-06654B490CB0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29" creationId="{7B36808A-E74E-42A2-92AA-01584EC1A65F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30" creationId="{3458A6B4-27E9-48FB-AB64-F33718083E00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31" creationId="{3ACE5B71-2FD1-4912-A908-AB3FA6CAD813}"/>
          </ac:spMkLst>
        </pc:spChg>
        <pc:spChg chg="mod">
          <ac:chgData name="Lorenzo Negro" userId="f5c1ec43-de79-40b8-82f6-f96ea1916685" providerId="ADAL" clId="{03DDE8F0-7760-6445-82E5-3D78AF516955}" dt="2023-07-21T09:29:43.255" v="1559" actId="164"/>
          <ac:spMkLst>
            <pc:docMk/>
            <pc:sldMk cId="1926547925" sldId="2147469242"/>
            <ac:spMk id="32" creationId="{9143EAF2-5EF5-4EF8-9040-F90C205BEBB2}"/>
          </ac:spMkLst>
        </pc:spChg>
        <pc:spChg chg="mod">
          <ac:chgData name="Lorenzo Negro" userId="f5c1ec43-de79-40b8-82f6-f96ea1916685" providerId="ADAL" clId="{03DDE8F0-7760-6445-82E5-3D78AF516955}" dt="2023-07-21T09:34:30.850" v="1669" actId="1076"/>
          <ac:spMkLst>
            <pc:docMk/>
            <pc:sldMk cId="1926547925" sldId="2147469242"/>
            <ac:spMk id="34" creationId="{8121FA30-FA62-4700-B09A-50179B9955C3}"/>
          </ac:spMkLst>
        </pc:spChg>
        <pc:spChg chg="mod">
          <ac:chgData name="Lorenzo Negro" userId="f5c1ec43-de79-40b8-82f6-f96ea1916685" providerId="ADAL" clId="{03DDE8F0-7760-6445-82E5-3D78AF516955}" dt="2023-07-21T09:36:40.476" v="1683" actId="1076"/>
          <ac:spMkLst>
            <pc:docMk/>
            <pc:sldMk cId="1926547925" sldId="2147469242"/>
            <ac:spMk id="35" creationId="{329A4D73-1E38-F4EC-623B-14D726519386}"/>
          </ac:spMkLst>
        </pc:spChg>
        <pc:spChg chg="mod">
          <ac:chgData name="Lorenzo Negro" userId="f5c1ec43-de79-40b8-82f6-f96ea1916685" providerId="ADAL" clId="{03DDE8F0-7760-6445-82E5-3D78AF516955}" dt="2023-07-21T09:36:40.476" v="1683" actId="1076"/>
          <ac:spMkLst>
            <pc:docMk/>
            <pc:sldMk cId="1926547925" sldId="2147469242"/>
            <ac:spMk id="36" creationId="{8C7D2260-5A5A-C1D4-CAB1-28FB4113D7B6}"/>
          </ac:spMkLst>
        </pc:spChg>
        <pc:spChg chg="mod">
          <ac:chgData name="Lorenzo Negro" userId="f5c1ec43-de79-40b8-82f6-f96ea1916685" providerId="ADAL" clId="{03DDE8F0-7760-6445-82E5-3D78AF516955}" dt="2023-07-21T09:35:06.763" v="1671" actId="1076"/>
          <ac:spMkLst>
            <pc:docMk/>
            <pc:sldMk cId="1926547925" sldId="2147469242"/>
            <ac:spMk id="38" creationId="{0206BDDA-0272-4C72-9454-893E16825198}"/>
          </ac:spMkLst>
        </pc:spChg>
        <pc:spChg chg="mod">
          <ac:chgData name="Lorenzo Negro" userId="f5c1ec43-de79-40b8-82f6-f96ea1916685" providerId="ADAL" clId="{03DDE8F0-7760-6445-82E5-3D78AF516955}" dt="2023-07-21T09:36:40.476" v="1683" actId="1076"/>
          <ac:spMkLst>
            <pc:docMk/>
            <pc:sldMk cId="1926547925" sldId="2147469242"/>
            <ac:spMk id="47" creationId="{BBB7DC70-DAE2-04C7-521E-A314C6B0452F}"/>
          </ac:spMkLst>
        </pc:spChg>
        <pc:spChg chg="mod">
          <ac:chgData name="Lorenzo Negro" userId="f5c1ec43-de79-40b8-82f6-f96ea1916685" providerId="ADAL" clId="{03DDE8F0-7760-6445-82E5-3D78AF516955}" dt="2023-07-21T09:36:40.476" v="1683" actId="1076"/>
          <ac:spMkLst>
            <pc:docMk/>
            <pc:sldMk cId="1926547925" sldId="2147469242"/>
            <ac:spMk id="48" creationId="{1E0AA964-6509-C3E1-00BA-92D2CDCE3FA9}"/>
          </ac:spMkLst>
        </pc:spChg>
        <pc:grpChg chg="mod">
          <ac:chgData name="Lorenzo Negro" userId="f5c1ec43-de79-40b8-82f6-f96ea1916685" providerId="ADAL" clId="{03DDE8F0-7760-6445-82E5-3D78AF516955}" dt="2023-07-21T09:36:50.764" v="1685" actId="1076"/>
          <ac:grpSpMkLst>
            <pc:docMk/>
            <pc:sldMk cId="1926547925" sldId="2147469242"/>
            <ac:grpSpMk id="2" creationId="{AA820E92-6BCF-B7A2-900E-611656B0C2E0}"/>
          </ac:grpSpMkLst>
        </pc:grpChg>
        <pc:grpChg chg="add del mod">
          <ac:chgData name="Lorenzo Negro" userId="f5c1ec43-de79-40b8-82f6-f96ea1916685" providerId="ADAL" clId="{03DDE8F0-7760-6445-82E5-3D78AF516955}" dt="2023-07-21T09:17:47.624" v="1406" actId="478"/>
          <ac:grpSpMkLst>
            <pc:docMk/>
            <pc:sldMk cId="1926547925" sldId="2147469242"/>
            <ac:grpSpMk id="8" creationId="{3B71E193-703F-2E63-E2CB-40BA2A995E51}"/>
          </ac:grpSpMkLst>
        </pc:grpChg>
        <pc:grpChg chg="add del mod">
          <ac:chgData name="Lorenzo Negro" userId="f5c1ec43-de79-40b8-82f6-f96ea1916685" providerId="ADAL" clId="{03DDE8F0-7760-6445-82E5-3D78AF516955}" dt="2023-07-21T09:17:51.203" v="1408"/>
          <ac:grpSpMkLst>
            <pc:docMk/>
            <pc:sldMk cId="1926547925" sldId="2147469242"/>
            <ac:grpSpMk id="18" creationId="{30FAB9C5-E209-F080-349E-58A342C21373}"/>
          </ac:grpSpMkLst>
        </pc:grpChg>
        <pc:grpChg chg="add mod">
          <ac:chgData name="Lorenzo Negro" userId="f5c1ec43-de79-40b8-82f6-f96ea1916685" providerId="ADAL" clId="{03DDE8F0-7760-6445-82E5-3D78AF516955}" dt="2023-07-21T09:36:40.476" v="1683" actId="1076"/>
          <ac:grpSpMkLst>
            <pc:docMk/>
            <pc:sldMk cId="1926547925" sldId="2147469242"/>
            <ac:grpSpMk id="33" creationId="{60242823-812D-69EA-F805-2F8A87D7112E}"/>
          </ac:grpSpMkLst>
        </pc:grpChg>
        <pc:grpChg chg="add mod">
          <ac:chgData name="Lorenzo Negro" userId="f5c1ec43-de79-40b8-82f6-f96ea1916685" providerId="ADAL" clId="{03DDE8F0-7760-6445-82E5-3D78AF516955}" dt="2023-07-21T09:36:40.476" v="1683" actId="1076"/>
          <ac:grpSpMkLst>
            <pc:docMk/>
            <pc:sldMk cId="1926547925" sldId="2147469242"/>
            <ac:grpSpMk id="46" creationId="{15D680CF-56D3-0A86-F86E-B8BBC97F09B4}"/>
          </ac:grpSpMkLst>
        </pc:grpChg>
        <pc:grpChg chg="add del mod">
          <ac:chgData name="Lorenzo Negro" userId="f5c1ec43-de79-40b8-82f6-f96ea1916685" providerId="ADAL" clId="{03DDE8F0-7760-6445-82E5-3D78AF516955}" dt="2023-07-21T09:31:17.528" v="1583" actId="478"/>
          <ac:grpSpMkLst>
            <pc:docMk/>
            <pc:sldMk cId="1926547925" sldId="2147469242"/>
            <ac:grpSpMk id="51" creationId="{82735B8C-EB33-AC93-8891-D1510209FE52}"/>
          </ac:grpSpMkLst>
        </pc:grpChg>
        <pc:graphicFrameChg chg="add del mod">
          <ac:chgData name="Lorenzo Negro" userId="f5c1ec43-de79-40b8-82f6-f96ea1916685" providerId="ADAL" clId="{03DDE8F0-7760-6445-82E5-3D78AF516955}" dt="2023-07-21T10:56:22.667" v="1932" actId="478"/>
          <ac:graphicFrameMkLst>
            <pc:docMk/>
            <pc:sldMk cId="1926547925" sldId="2147469242"/>
            <ac:graphicFrameMk id="54" creationId="{69F03CAC-A62B-DE7A-3384-BA853CF7F5B9}"/>
          </ac:graphicFrameMkLst>
        </pc:graphicFrameChg>
        <pc:picChg chg="mod">
          <ac:chgData name="Lorenzo Negro" userId="f5c1ec43-de79-40b8-82f6-f96ea1916685" providerId="ADAL" clId="{03DDE8F0-7760-6445-82E5-3D78AF516955}" dt="2023-07-21T09:36:14.770" v="1676" actId="1037"/>
          <ac:picMkLst>
            <pc:docMk/>
            <pc:sldMk cId="1926547925" sldId="2147469242"/>
            <ac:picMk id="13" creationId="{2F595316-73A1-4EC2-9D1D-A3654766CACD}"/>
          </ac:picMkLst>
        </pc:picChg>
        <pc:picChg chg="mod">
          <ac:chgData name="Lorenzo Negro" userId="f5c1ec43-de79-40b8-82f6-f96ea1916685" providerId="ADAL" clId="{03DDE8F0-7760-6445-82E5-3D78AF516955}" dt="2023-07-21T09:17:44.036" v="1405" actId="1076"/>
          <ac:picMkLst>
            <pc:docMk/>
            <pc:sldMk cId="1926547925" sldId="2147469242"/>
            <ac:picMk id="14" creationId="{7D86C9EE-AFDE-9E39-B9C7-4231CE0C1F4B}"/>
          </ac:picMkLst>
        </pc:picChg>
        <pc:picChg chg="mod">
          <ac:chgData name="Lorenzo Negro" userId="f5c1ec43-de79-40b8-82f6-f96ea1916685" providerId="ADAL" clId="{03DDE8F0-7760-6445-82E5-3D78AF516955}" dt="2023-07-21T09:36:14.770" v="1676" actId="1037"/>
          <ac:picMkLst>
            <pc:docMk/>
            <pc:sldMk cId="1926547925" sldId="2147469242"/>
            <ac:picMk id="15" creationId="{BFA8132E-D0D7-460C-ADFA-37210356BFF4}"/>
          </ac:picMkLst>
        </pc:picChg>
        <pc:picChg chg="mod">
          <ac:chgData name="Lorenzo Negro" userId="f5c1ec43-de79-40b8-82f6-f96ea1916685" providerId="ADAL" clId="{03DDE8F0-7760-6445-82E5-3D78AF516955}" dt="2023-07-21T09:36:18.504" v="1679" actId="1036"/>
          <ac:picMkLst>
            <pc:docMk/>
            <pc:sldMk cId="1926547925" sldId="2147469242"/>
            <ac:picMk id="17" creationId="{6168B026-05B6-4791-80C0-4AD821AFE41D}"/>
          </ac:picMkLst>
        </pc:picChg>
        <pc:picChg chg="mod">
          <ac:chgData name="Lorenzo Negro" userId="f5c1ec43-de79-40b8-82f6-f96ea1916685" providerId="ADAL" clId="{03DDE8F0-7760-6445-82E5-3D78AF516955}" dt="2023-07-21T09:36:24.776" v="1681" actId="1038"/>
          <ac:picMkLst>
            <pc:docMk/>
            <pc:sldMk cId="1926547925" sldId="2147469242"/>
            <ac:picMk id="19" creationId="{B82B1067-3473-4B5D-BCFC-EFD09E41FFC4}"/>
          </ac:picMkLst>
        </pc:picChg>
        <pc:picChg chg="mod">
          <ac:chgData name="Lorenzo Negro" userId="f5c1ec43-de79-40b8-82f6-f96ea1916685" providerId="ADAL" clId="{03DDE8F0-7760-6445-82E5-3D78AF516955}" dt="2023-07-21T09:36:24.776" v="1681" actId="1038"/>
          <ac:picMkLst>
            <pc:docMk/>
            <pc:sldMk cId="1926547925" sldId="2147469242"/>
            <ac:picMk id="21" creationId="{F85EDB8E-524A-46C3-AB89-30DE9799FAA9}"/>
          </ac:picMkLst>
        </pc:picChg>
        <pc:picChg chg="mod">
          <ac:chgData name="Lorenzo Negro" userId="f5c1ec43-de79-40b8-82f6-f96ea1916685" providerId="ADAL" clId="{03DDE8F0-7760-6445-82E5-3D78AF516955}" dt="2023-07-21T09:36:24.776" v="1681" actId="1038"/>
          <ac:picMkLst>
            <pc:docMk/>
            <pc:sldMk cId="1926547925" sldId="2147469242"/>
            <ac:picMk id="23" creationId="{69A89650-F41B-4CA5-964A-BBB8D1A02C0F}"/>
          </ac:picMkLst>
        </pc:picChg>
        <pc:picChg chg="mod">
          <ac:chgData name="Lorenzo Negro" userId="f5c1ec43-de79-40b8-82f6-f96ea1916685" providerId="ADAL" clId="{03DDE8F0-7760-6445-82E5-3D78AF516955}" dt="2023-07-21T09:17:48.471" v="1407"/>
          <ac:picMkLst>
            <pc:docMk/>
            <pc:sldMk cId="1926547925" sldId="2147469242"/>
            <ac:picMk id="24" creationId="{B01AD405-1BC5-1BE1-18F0-9905B3B89EA5}"/>
          </ac:picMkLst>
        </pc:picChg>
        <pc:picChg chg="mod">
          <ac:chgData name="Lorenzo Negro" userId="f5c1ec43-de79-40b8-82f6-f96ea1916685" providerId="ADAL" clId="{03DDE8F0-7760-6445-82E5-3D78AF516955}" dt="2023-07-21T09:36:40.476" v="1683" actId="1076"/>
          <ac:picMkLst>
            <pc:docMk/>
            <pc:sldMk cId="1926547925" sldId="2147469242"/>
            <ac:picMk id="37" creationId="{3C45F7D7-40F0-A0BE-7F04-37970C8C241B}"/>
          </ac:picMkLst>
        </pc:picChg>
        <pc:picChg chg="mod">
          <ac:chgData name="Lorenzo Negro" userId="f5c1ec43-de79-40b8-82f6-f96ea1916685" providerId="ADAL" clId="{03DDE8F0-7760-6445-82E5-3D78AF516955}" dt="2023-07-21T09:36:40.476" v="1683" actId="1076"/>
          <ac:picMkLst>
            <pc:docMk/>
            <pc:sldMk cId="1926547925" sldId="2147469242"/>
            <ac:picMk id="49" creationId="{3B42395C-BDE4-257D-2358-1D87ECD054BE}"/>
          </ac:picMkLst>
        </pc:picChg>
        <pc:picChg chg="add mod">
          <ac:chgData name="Lorenzo Negro" userId="f5c1ec43-de79-40b8-82f6-f96ea1916685" providerId="ADAL" clId="{03DDE8F0-7760-6445-82E5-3D78AF516955}" dt="2023-07-21T10:12:15.370" v="1698" actId="1076"/>
          <ac:picMkLst>
            <pc:docMk/>
            <pc:sldMk cId="1926547925" sldId="2147469242"/>
            <ac:picMk id="53" creationId="{CC729AFA-6977-5E4D-7212-F9AEEF3A3315}"/>
          </ac:picMkLst>
        </pc:picChg>
        <pc:picChg chg="del mod">
          <ac:chgData name="Lorenzo Negro" userId="f5c1ec43-de79-40b8-82f6-f96ea1916685" providerId="ADAL" clId="{03DDE8F0-7760-6445-82E5-3D78AF516955}" dt="2023-07-21T10:11:36.421" v="1692" actId="478"/>
          <ac:picMkLst>
            <pc:docMk/>
            <pc:sldMk cId="1926547925" sldId="2147469242"/>
            <ac:picMk id="2050" creationId="{D1D27799-C5A8-4760-8B4C-FFFE9AA45B67}"/>
          </ac:picMkLst>
        </pc:picChg>
        <pc:cxnChg chg="add del mod">
          <ac:chgData name="Lorenzo Negro" userId="f5c1ec43-de79-40b8-82f6-f96ea1916685" providerId="ADAL" clId="{03DDE8F0-7760-6445-82E5-3D78AF516955}" dt="2023-07-21T09:16:37.487" v="1403" actId="478"/>
          <ac:cxnSpMkLst>
            <pc:docMk/>
            <pc:sldMk cId="1926547925" sldId="2147469242"/>
            <ac:cxnSpMk id="7" creationId="{6A186FC3-6BE4-CBB5-45AA-EA708701CDA4}"/>
          </ac:cxnSpMkLst>
        </pc:cxnChg>
        <pc:cxnChg chg="mod">
          <ac:chgData name="Lorenzo Negro" userId="f5c1ec43-de79-40b8-82f6-f96ea1916685" providerId="ADAL" clId="{03DDE8F0-7760-6445-82E5-3D78AF516955}" dt="2023-07-21T09:17:44.036" v="1405" actId="1076"/>
          <ac:cxnSpMkLst>
            <pc:docMk/>
            <pc:sldMk cId="1926547925" sldId="2147469242"/>
            <ac:cxnSpMk id="16" creationId="{EA4709D2-6FF8-C8DB-842D-987C37553A94}"/>
          </ac:cxnSpMkLst>
        </pc:cxnChg>
        <pc:cxnChg chg="mod">
          <ac:chgData name="Lorenzo Negro" userId="f5c1ec43-de79-40b8-82f6-f96ea1916685" providerId="ADAL" clId="{03DDE8F0-7760-6445-82E5-3D78AF516955}" dt="2023-07-21T09:17:48.471" v="1407"/>
          <ac:cxnSpMkLst>
            <pc:docMk/>
            <pc:sldMk cId="1926547925" sldId="2147469242"/>
            <ac:cxnSpMk id="25" creationId="{64189BAC-B176-9121-FB1A-FFE672A33479}"/>
          </ac:cxnSpMkLst>
        </pc:cxnChg>
        <pc:cxnChg chg="mod">
          <ac:chgData name="Lorenzo Negro" userId="f5c1ec43-de79-40b8-82f6-f96ea1916685" providerId="ADAL" clId="{03DDE8F0-7760-6445-82E5-3D78AF516955}" dt="2023-07-21T09:36:40.476" v="1683" actId="1076"/>
          <ac:cxnSpMkLst>
            <pc:docMk/>
            <pc:sldMk cId="1926547925" sldId="2147469242"/>
            <ac:cxnSpMk id="45" creationId="{5183134B-DC3C-71F1-4242-C0217B2330E5}"/>
          </ac:cxnSpMkLst>
        </pc:cxnChg>
        <pc:cxnChg chg="mod">
          <ac:chgData name="Lorenzo Negro" userId="f5c1ec43-de79-40b8-82f6-f96ea1916685" providerId="ADAL" clId="{03DDE8F0-7760-6445-82E5-3D78AF516955}" dt="2023-07-21T09:36:40.476" v="1683" actId="1076"/>
          <ac:cxnSpMkLst>
            <pc:docMk/>
            <pc:sldMk cId="1926547925" sldId="2147469242"/>
            <ac:cxnSpMk id="50" creationId="{F9D30A31-2404-83A9-2572-EEBA1B8C076E}"/>
          </ac:cxnSpMkLst>
        </pc:cxnChg>
      </pc:sldChg>
      <pc:sldChg chg="addSp delSp modSp add del mod">
        <pc:chgData name="Lorenzo Negro" userId="f5c1ec43-de79-40b8-82f6-f96ea1916685" providerId="ADAL" clId="{03DDE8F0-7760-6445-82E5-3D78AF516955}" dt="2023-07-20T14:16:12.833" v="868" actId="2696"/>
        <pc:sldMkLst>
          <pc:docMk/>
          <pc:sldMk cId="1937041492" sldId="2147469242"/>
        </pc:sldMkLst>
        <pc:spChg chg="add del mod">
          <ac:chgData name="Lorenzo Negro" userId="f5c1ec43-de79-40b8-82f6-f96ea1916685" providerId="ADAL" clId="{03DDE8F0-7760-6445-82E5-3D78AF516955}" dt="2023-07-20T14:04:33.351" v="837" actId="11529"/>
          <ac:spMkLst>
            <pc:docMk/>
            <pc:sldMk cId="1937041492" sldId="2147469242"/>
            <ac:spMk id="2" creationId="{D4166F31-D899-6688-6C80-043A1BA903C5}"/>
          </ac:spMkLst>
        </pc:spChg>
        <pc:spChg chg="add del mod topLvl">
          <ac:chgData name="Lorenzo Negro" userId="f5c1ec43-de79-40b8-82f6-f96ea1916685" providerId="ADAL" clId="{03DDE8F0-7760-6445-82E5-3D78AF516955}" dt="2023-07-20T14:04:50.396" v="845" actId="207"/>
          <ac:spMkLst>
            <pc:docMk/>
            <pc:sldMk cId="1937041492" sldId="2147469242"/>
            <ac:spMk id="77" creationId="{146521E4-BE4C-4BDE-8DF9-D24CC3DBBB06}"/>
          </ac:spMkLst>
        </pc:spChg>
        <pc:grpChg chg="add del">
          <ac:chgData name="Lorenzo Negro" userId="f5c1ec43-de79-40b8-82f6-f96ea1916685" providerId="ADAL" clId="{03DDE8F0-7760-6445-82E5-3D78AF516955}" dt="2023-07-20T14:04:36.299" v="839" actId="478"/>
          <ac:grpSpMkLst>
            <pc:docMk/>
            <pc:sldMk cId="1937041492" sldId="2147469242"/>
            <ac:grpSpMk id="12" creationId="{31EE3F20-EF25-2CF9-F711-13ED2D8AEF60}"/>
          </ac:grpSpMkLst>
        </pc:grpChg>
        <pc:picChg chg="mod topLvl">
          <ac:chgData name="Lorenzo Negro" userId="f5c1ec43-de79-40b8-82f6-f96ea1916685" providerId="ADAL" clId="{03DDE8F0-7760-6445-82E5-3D78AF516955}" dt="2023-07-20T14:04:33.942" v="838" actId="14826"/>
          <ac:picMkLst>
            <pc:docMk/>
            <pc:sldMk cId="1937041492" sldId="2147469242"/>
            <ac:picMk id="74" creationId="{C7027D90-B9A7-024C-A333-E0DB749971F8}"/>
          </ac:picMkLst>
        </pc:picChg>
      </pc:sldChg>
      <pc:sldChg chg="addSp delSp modSp add del mod">
        <pc:chgData name="Lorenzo Negro" userId="f5c1ec43-de79-40b8-82f6-f96ea1916685" providerId="ADAL" clId="{03DDE8F0-7760-6445-82E5-3D78AF516955}" dt="2023-07-20T08:32:02.280" v="288" actId="2696"/>
        <pc:sldMkLst>
          <pc:docMk/>
          <pc:sldMk cId="2091690141" sldId="2147469242"/>
        </pc:sldMkLst>
        <pc:spChg chg="add mod">
          <ac:chgData name="Lorenzo Negro" userId="f5c1ec43-de79-40b8-82f6-f96ea1916685" providerId="ADAL" clId="{03DDE8F0-7760-6445-82E5-3D78AF516955}" dt="2023-07-20T08:19:46.395" v="222" actId="1076"/>
          <ac:spMkLst>
            <pc:docMk/>
            <pc:sldMk cId="2091690141" sldId="2147469242"/>
            <ac:spMk id="3" creationId="{C7FD2446-E1BE-6998-A401-16442229B704}"/>
          </ac:spMkLst>
        </pc:spChg>
        <pc:spChg chg="add mod">
          <ac:chgData name="Lorenzo Negro" userId="f5c1ec43-de79-40b8-82f6-f96ea1916685" providerId="ADAL" clId="{03DDE8F0-7760-6445-82E5-3D78AF516955}" dt="2023-07-20T08:19:11.238" v="206" actId="20577"/>
          <ac:spMkLst>
            <pc:docMk/>
            <pc:sldMk cId="2091690141" sldId="2147469242"/>
            <ac:spMk id="4" creationId="{FFE77D6E-82C6-3C78-6663-D3072DFF5E45}"/>
          </ac:spMkLst>
        </pc:spChg>
        <pc:spChg chg="add mod">
          <ac:chgData name="Lorenzo Negro" userId="f5c1ec43-de79-40b8-82f6-f96ea1916685" providerId="ADAL" clId="{03DDE8F0-7760-6445-82E5-3D78AF516955}" dt="2023-07-20T08:19:39.092" v="220" actId="1076"/>
          <ac:spMkLst>
            <pc:docMk/>
            <pc:sldMk cId="2091690141" sldId="2147469242"/>
            <ac:spMk id="5" creationId="{6E7DE807-FB07-60D7-6399-099F78F33BDA}"/>
          </ac:spMkLst>
        </pc:spChg>
        <pc:spChg chg="mod">
          <ac:chgData name="Lorenzo Negro" userId="f5c1ec43-de79-40b8-82f6-f96ea1916685" providerId="ADAL" clId="{03DDE8F0-7760-6445-82E5-3D78AF516955}" dt="2023-07-20T08:27:02.171" v="256" actId="403"/>
          <ac:spMkLst>
            <pc:docMk/>
            <pc:sldMk cId="2091690141" sldId="2147469242"/>
            <ac:spMk id="32" creationId="{82A240BC-84C8-4F15-9A74-DD73CBD96245}"/>
          </ac:spMkLst>
        </pc:spChg>
        <pc:spChg chg="mod">
          <ac:chgData name="Lorenzo Negro" userId="f5c1ec43-de79-40b8-82f6-f96ea1916685" providerId="ADAL" clId="{03DDE8F0-7760-6445-82E5-3D78AF516955}" dt="2023-07-20T08:20:10.389" v="227" actId="20577"/>
          <ac:spMkLst>
            <pc:docMk/>
            <pc:sldMk cId="2091690141" sldId="2147469242"/>
            <ac:spMk id="49" creationId="{EE412FD8-5B6D-45D8-9CC4-7C63965A8586}"/>
          </ac:spMkLst>
        </pc:spChg>
        <pc:spChg chg="mod">
          <ac:chgData name="Lorenzo Negro" userId="f5c1ec43-de79-40b8-82f6-f96ea1916685" providerId="ADAL" clId="{03DDE8F0-7760-6445-82E5-3D78AF516955}" dt="2023-07-20T08:20:07.992" v="226" actId="20577"/>
          <ac:spMkLst>
            <pc:docMk/>
            <pc:sldMk cId="2091690141" sldId="2147469242"/>
            <ac:spMk id="59" creationId="{D897C0A5-C989-432C-9336-F126081F4455}"/>
          </ac:spMkLst>
        </pc:spChg>
        <pc:spChg chg="del mod">
          <ac:chgData name="Lorenzo Negro" userId="f5c1ec43-de79-40b8-82f6-f96ea1916685" providerId="ADAL" clId="{03DDE8F0-7760-6445-82E5-3D78AF516955}" dt="2023-07-20T08:22:18.289" v="233" actId="478"/>
          <ac:spMkLst>
            <pc:docMk/>
            <pc:sldMk cId="2091690141" sldId="2147469242"/>
            <ac:spMk id="70" creationId="{1CAA82E4-4BA1-40D7-AAA0-E4ACB601FF7F}"/>
          </ac:spMkLst>
        </pc:spChg>
        <pc:spChg chg="mod">
          <ac:chgData name="Lorenzo Negro" userId="f5c1ec43-de79-40b8-82f6-f96ea1916685" providerId="ADAL" clId="{03DDE8F0-7760-6445-82E5-3D78AF516955}" dt="2023-07-20T08:26:51.220" v="252" actId="57"/>
          <ac:spMkLst>
            <pc:docMk/>
            <pc:sldMk cId="2091690141" sldId="2147469242"/>
            <ac:spMk id="71" creationId="{DA4D79DF-10FC-4F99-B3B1-7BBD5F204149}"/>
          </ac:spMkLst>
        </pc:spChg>
        <pc:spChg chg="mod">
          <ac:chgData name="Lorenzo Negro" userId="f5c1ec43-de79-40b8-82f6-f96ea1916685" providerId="ADAL" clId="{03DDE8F0-7760-6445-82E5-3D78AF516955}" dt="2023-07-20T08:26:21.860" v="245" actId="1076"/>
          <ac:spMkLst>
            <pc:docMk/>
            <pc:sldMk cId="2091690141" sldId="2147469242"/>
            <ac:spMk id="73" creationId="{6B7ED06E-8DE9-45CD-9BA3-DD9B330FB797}"/>
          </ac:spMkLst>
        </pc:spChg>
        <pc:spChg chg="mod">
          <ac:chgData name="Lorenzo Negro" userId="f5c1ec43-de79-40b8-82f6-f96ea1916685" providerId="ADAL" clId="{03DDE8F0-7760-6445-82E5-3D78AF516955}" dt="2023-07-20T08:20:12.485" v="228" actId="20577"/>
          <ac:spMkLst>
            <pc:docMk/>
            <pc:sldMk cId="2091690141" sldId="2147469242"/>
            <ac:spMk id="91" creationId="{85A6C902-B2ED-4548-A9F7-56998C299EA5}"/>
          </ac:spMkLst>
        </pc:spChg>
        <pc:spChg chg="mod">
          <ac:chgData name="Lorenzo Negro" userId="f5c1ec43-de79-40b8-82f6-f96ea1916685" providerId="ADAL" clId="{03DDE8F0-7760-6445-82E5-3D78AF516955}" dt="2023-07-20T08:20:15.630" v="229" actId="20577"/>
          <ac:spMkLst>
            <pc:docMk/>
            <pc:sldMk cId="2091690141" sldId="2147469242"/>
            <ac:spMk id="92" creationId="{4F94460B-4067-40DA-A48B-3BAAAE38BCAB}"/>
          </ac:spMkLst>
        </pc:spChg>
      </pc:sldChg>
      <pc:sldChg chg="addSp delSp modSp add mod">
        <pc:chgData name="Lorenzo Negro" userId="f5c1ec43-de79-40b8-82f6-f96ea1916685" providerId="ADAL" clId="{03DDE8F0-7760-6445-82E5-3D78AF516955}" dt="2023-07-27T11:56:32.636" v="2043" actId="20577"/>
        <pc:sldMkLst>
          <pc:docMk/>
          <pc:sldMk cId="965223953" sldId="2147469243"/>
        </pc:sldMkLst>
        <pc:spChg chg="mod">
          <ac:chgData name="Lorenzo Negro" userId="f5c1ec43-de79-40b8-82f6-f96ea1916685" providerId="ADAL" clId="{03DDE8F0-7760-6445-82E5-3D78AF516955}" dt="2023-07-21T10:54:44.780" v="1923" actId="14100"/>
          <ac:spMkLst>
            <pc:docMk/>
            <pc:sldMk cId="965223953" sldId="2147469243"/>
            <ac:spMk id="4" creationId="{D746BEB9-B347-48D8-B98E-CD692781D7C8}"/>
          </ac:spMkLst>
        </pc:spChg>
        <pc:spChg chg="add mod">
          <ac:chgData name="Lorenzo Negro" userId="f5c1ec43-de79-40b8-82f6-f96ea1916685" providerId="ADAL" clId="{03DDE8F0-7760-6445-82E5-3D78AF516955}" dt="2023-07-27T11:56:32.636" v="2043" actId="20577"/>
          <ac:spMkLst>
            <pc:docMk/>
            <pc:sldMk cId="965223953" sldId="2147469243"/>
            <ac:spMk id="7" creationId="{89BA1859-ABB8-3653-EA55-777C199ED47B}"/>
          </ac:spMkLst>
        </pc:spChg>
        <pc:spChg chg="mod">
          <ac:chgData name="Lorenzo Negro" userId="f5c1ec43-de79-40b8-82f6-f96ea1916685" providerId="ADAL" clId="{03DDE8F0-7760-6445-82E5-3D78AF516955}" dt="2023-07-24T12:24:14.764" v="1963" actId="20577"/>
          <ac:spMkLst>
            <pc:docMk/>
            <pc:sldMk cId="965223953" sldId="2147469243"/>
            <ac:spMk id="26" creationId="{BCA2836A-BD34-44E5-834D-61BA07F77D2D}"/>
          </ac:spMkLst>
        </pc:spChg>
        <pc:spChg chg="mod">
          <ac:chgData name="Lorenzo Negro" userId="f5c1ec43-de79-40b8-82f6-f96ea1916685" providerId="ADAL" clId="{03DDE8F0-7760-6445-82E5-3D78AF516955}" dt="2023-07-21T10:54:44.780" v="1923" actId="14100"/>
          <ac:spMkLst>
            <pc:docMk/>
            <pc:sldMk cId="965223953" sldId="2147469243"/>
            <ac:spMk id="34" creationId="{8121FA30-FA62-4700-B09A-50179B9955C3}"/>
          </ac:spMkLst>
        </pc:spChg>
        <pc:spChg chg="mod">
          <ac:chgData name="Lorenzo Negro" userId="f5c1ec43-de79-40b8-82f6-f96ea1916685" providerId="ADAL" clId="{03DDE8F0-7760-6445-82E5-3D78AF516955}" dt="2023-07-24T12:24:26.817" v="1969" actId="1035"/>
          <ac:spMkLst>
            <pc:docMk/>
            <pc:sldMk cId="965223953" sldId="2147469243"/>
            <ac:spMk id="35" creationId="{329A4D73-1E38-F4EC-623B-14D726519386}"/>
          </ac:spMkLst>
        </pc:spChg>
        <pc:spChg chg="mod">
          <ac:chgData name="Lorenzo Negro" userId="f5c1ec43-de79-40b8-82f6-f96ea1916685" providerId="ADAL" clId="{03DDE8F0-7760-6445-82E5-3D78AF516955}" dt="2023-07-21T11:24:41.103" v="1943" actId="14100"/>
          <ac:spMkLst>
            <pc:docMk/>
            <pc:sldMk cId="965223953" sldId="2147469243"/>
            <ac:spMk id="36" creationId="{8C7D2260-5A5A-C1D4-CAB1-28FB4113D7B6}"/>
          </ac:spMkLst>
        </pc:spChg>
        <pc:spChg chg="mod">
          <ac:chgData name="Lorenzo Negro" userId="f5c1ec43-de79-40b8-82f6-f96ea1916685" providerId="ADAL" clId="{03DDE8F0-7760-6445-82E5-3D78AF516955}" dt="2023-07-21T10:17:32.560" v="1811" actId="14100"/>
          <ac:spMkLst>
            <pc:docMk/>
            <pc:sldMk cId="965223953" sldId="2147469243"/>
            <ac:spMk id="38" creationId="{0206BDDA-0272-4C72-9454-893E16825198}"/>
          </ac:spMkLst>
        </pc:spChg>
        <pc:spChg chg="mod">
          <ac:chgData name="Lorenzo Negro" userId="f5c1ec43-de79-40b8-82f6-f96ea1916685" providerId="ADAL" clId="{03DDE8F0-7760-6445-82E5-3D78AF516955}" dt="2023-07-26T13:55:20.765" v="2018" actId="14100"/>
          <ac:spMkLst>
            <pc:docMk/>
            <pc:sldMk cId="965223953" sldId="2147469243"/>
            <ac:spMk id="39" creationId="{9A2789D2-DA7E-424E-92ED-0445A36DD293}"/>
          </ac:spMkLst>
        </pc:spChg>
        <pc:spChg chg="del">
          <ac:chgData name="Lorenzo Negro" userId="f5c1ec43-de79-40b8-82f6-f96ea1916685" providerId="ADAL" clId="{03DDE8F0-7760-6445-82E5-3D78AF516955}" dt="2023-07-21T10:15:39.749" v="1789" actId="478"/>
          <ac:spMkLst>
            <pc:docMk/>
            <pc:sldMk cId="965223953" sldId="2147469243"/>
            <ac:spMk id="40" creationId="{F3678DA0-4649-4CA2-B11E-829BBA663C3C}"/>
          </ac:spMkLst>
        </pc:spChg>
        <pc:spChg chg="del">
          <ac:chgData name="Lorenzo Negro" userId="f5c1ec43-de79-40b8-82f6-f96ea1916685" providerId="ADAL" clId="{03DDE8F0-7760-6445-82E5-3D78AF516955}" dt="2023-07-21T10:15:46.037" v="1792" actId="478"/>
          <ac:spMkLst>
            <pc:docMk/>
            <pc:sldMk cId="965223953" sldId="2147469243"/>
            <ac:spMk id="41" creationId="{303F3DE7-3D51-453E-A126-9B29E415FA8A}"/>
          </ac:spMkLst>
        </pc:spChg>
        <pc:spChg chg="del">
          <ac:chgData name="Lorenzo Negro" userId="f5c1ec43-de79-40b8-82f6-f96ea1916685" providerId="ADAL" clId="{03DDE8F0-7760-6445-82E5-3D78AF516955}" dt="2023-07-21T10:15:39.749" v="1789" actId="478"/>
          <ac:spMkLst>
            <pc:docMk/>
            <pc:sldMk cId="965223953" sldId="2147469243"/>
            <ac:spMk id="42" creationId="{29CDC622-6D30-4B1D-81CA-B79354CD23B4}"/>
          </ac:spMkLst>
        </pc:spChg>
        <pc:spChg chg="mod">
          <ac:chgData name="Lorenzo Negro" userId="f5c1ec43-de79-40b8-82f6-f96ea1916685" providerId="ADAL" clId="{03DDE8F0-7760-6445-82E5-3D78AF516955}" dt="2023-07-21T11:25:08.369" v="1947" actId="404"/>
          <ac:spMkLst>
            <pc:docMk/>
            <pc:sldMk cId="965223953" sldId="2147469243"/>
            <ac:spMk id="47" creationId="{BBB7DC70-DAE2-04C7-521E-A314C6B0452F}"/>
          </ac:spMkLst>
        </pc:spChg>
        <pc:spChg chg="mod">
          <ac:chgData name="Lorenzo Negro" userId="f5c1ec43-de79-40b8-82f6-f96ea1916685" providerId="ADAL" clId="{03DDE8F0-7760-6445-82E5-3D78AF516955}" dt="2023-07-21T11:24:41.103" v="1943" actId="14100"/>
          <ac:spMkLst>
            <pc:docMk/>
            <pc:sldMk cId="965223953" sldId="2147469243"/>
            <ac:spMk id="48" creationId="{1E0AA964-6509-C3E1-00BA-92D2CDCE3FA9}"/>
          </ac:spMkLst>
        </pc:spChg>
        <pc:grpChg chg="mod">
          <ac:chgData name="Lorenzo Negro" userId="f5c1ec43-de79-40b8-82f6-f96ea1916685" providerId="ADAL" clId="{03DDE8F0-7760-6445-82E5-3D78AF516955}" dt="2023-07-21T10:17:07.475" v="1807" actId="14100"/>
          <ac:grpSpMkLst>
            <pc:docMk/>
            <pc:sldMk cId="965223953" sldId="2147469243"/>
            <ac:grpSpMk id="2" creationId="{AA820E92-6BCF-B7A2-900E-611656B0C2E0}"/>
          </ac:grpSpMkLst>
        </pc:grpChg>
        <pc:grpChg chg="mod">
          <ac:chgData name="Lorenzo Negro" userId="f5c1ec43-de79-40b8-82f6-f96ea1916685" providerId="ADAL" clId="{03DDE8F0-7760-6445-82E5-3D78AF516955}" dt="2023-07-21T11:24:41.103" v="1943" actId="14100"/>
          <ac:grpSpMkLst>
            <pc:docMk/>
            <pc:sldMk cId="965223953" sldId="2147469243"/>
            <ac:grpSpMk id="33" creationId="{60242823-812D-69EA-F805-2F8A87D7112E}"/>
          </ac:grpSpMkLst>
        </pc:grpChg>
        <pc:grpChg chg="mod">
          <ac:chgData name="Lorenzo Negro" userId="f5c1ec43-de79-40b8-82f6-f96ea1916685" providerId="ADAL" clId="{03DDE8F0-7760-6445-82E5-3D78AF516955}" dt="2023-07-21T11:24:41.103" v="1943" actId="14100"/>
          <ac:grpSpMkLst>
            <pc:docMk/>
            <pc:sldMk cId="965223953" sldId="2147469243"/>
            <ac:grpSpMk id="46" creationId="{15D680CF-56D3-0A86-F86E-B8BBC97F09B4}"/>
          </ac:grpSpMkLst>
        </pc:grpChg>
        <pc:graphicFrameChg chg="add del mod">
          <ac:chgData name="Lorenzo Negro" userId="f5c1ec43-de79-40b8-82f6-f96ea1916685" providerId="ADAL" clId="{03DDE8F0-7760-6445-82E5-3D78AF516955}" dt="2023-07-21T11:20:33.383" v="1934" actId="478"/>
          <ac:graphicFrameMkLst>
            <pc:docMk/>
            <pc:sldMk cId="965223953" sldId="2147469243"/>
            <ac:graphicFrameMk id="10" creationId="{25BF9B48-8639-1052-0233-951676034E79}"/>
          </ac:graphicFrameMkLst>
        </pc:graphicFrameChg>
        <pc:graphicFrameChg chg="del">
          <ac:chgData name="Lorenzo Negro" userId="f5c1ec43-de79-40b8-82f6-f96ea1916685" providerId="ADAL" clId="{03DDE8F0-7760-6445-82E5-3D78AF516955}" dt="2023-07-21T10:15:39.749" v="1789" actId="478"/>
          <ac:graphicFrameMkLst>
            <pc:docMk/>
            <pc:sldMk cId="965223953" sldId="2147469243"/>
            <ac:graphicFrameMk id="43" creationId="{43B29C00-D8E4-43E1-84BB-F8266F04D7FE}"/>
          </ac:graphicFrameMkLst>
        </pc:graphicFrameChg>
        <pc:graphicFrameChg chg="del modGraphic">
          <ac:chgData name="Lorenzo Negro" userId="f5c1ec43-de79-40b8-82f6-f96ea1916685" providerId="ADAL" clId="{03DDE8F0-7760-6445-82E5-3D78AF516955}" dt="2023-07-21T10:15:44.696" v="1791" actId="478"/>
          <ac:graphicFrameMkLst>
            <pc:docMk/>
            <pc:sldMk cId="965223953" sldId="2147469243"/>
            <ac:graphicFrameMk id="44" creationId="{A971C41D-4BE7-4779-AC7A-DB34C58F7F32}"/>
          </ac:graphicFrameMkLst>
        </pc:graphicFrameChg>
        <pc:picChg chg="mod">
          <ac:chgData name="Lorenzo Negro" userId="f5c1ec43-de79-40b8-82f6-f96ea1916685" providerId="ADAL" clId="{03DDE8F0-7760-6445-82E5-3D78AF516955}" dt="2023-07-21T10:13:51.908" v="1748" actId="1035"/>
          <ac:picMkLst>
            <pc:docMk/>
            <pc:sldMk cId="965223953" sldId="2147469243"/>
            <ac:picMk id="13" creationId="{2F595316-73A1-4EC2-9D1D-A3654766CACD}"/>
          </ac:picMkLst>
        </pc:picChg>
        <pc:picChg chg="add mod">
          <ac:chgData name="Lorenzo Negro" userId="f5c1ec43-de79-40b8-82f6-f96ea1916685" providerId="ADAL" clId="{03DDE8F0-7760-6445-82E5-3D78AF516955}" dt="2023-07-21T11:23:56.249" v="1941" actId="14100"/>
          <ac:picMkLst>
            <pc:docMk/>
            <pc:sldMk cId="965223953" sldId="2147469243"/>
            <ac:picMk id="14" creationId="{AA252363-60E6-990F-CA59-F6677C810E9D}"/>
          </ac:picMkLst>
        </pc:picChg>
        <pc:picChg chg="mod">
          <ac:chgData name="Lorenzo Negro" userId="f5c1ec43-de79-40b8-82f6-f96ea1916685" providerId="ADAL" clId="{03DDE8F0-7760-6445-82E5-3D78AF516955}" dt="2023-07-21T10:13:51.908" v="1748" actId="1035"/>
          <ac:picMkLst>
            <pc:docMk/>
            <pc:sldMk cId="965223953" sldId="2147469243"/>
            <ac:picMk id="15" creationId="{BFA8132E-D0D7-460C-ADFA-37210356BFF4}"/>
          </ac:picMkLst>
        </pc:picChg>
        <pc:picChg chg="mod">
          <ac:chgData name="Lorenzo Negro" userId="f5c1ec43-de79-40b8-82f6-f96ea1916685" providerId="ADAL" clId="{03DDE8F0-7760-6445-82E5-3D78AF516955}" dt="2023-07-21T10:13:51.908" v="1748" actId="1035"/>
          <ac:picMkLst>
            <pc:docMk/>
            <pc:sldMk cId="965223953" sldId="2147469243"/>
            <ac:picMk id="17" creationId="{6168B026-05B6-4791-80C0-4AD821AFE41D}"/>
          </ac:picMkLst>
        </pc:picChg>
        <pc:picChg chg="mod">
          <ac:chgData name="Lorenzo Negro" userId="f5c1ec43-de79-40b8-82f6-f96ea1916685" providerId="ADAL" clId="{03DDE8F0-7760-6445-82E5-3D78AF516955}" dt="2023-07-21T10:14:10.866" v="1750" actId="1076"/>
          <ac:picMkLst>
            <pc:docMk/>
            <pc:sldMk cId="965223953" sldId="2147469243"/>
            <ac:picMk id="19" creationId="{B82B1067-3473-4B5D-BCFC-EFD09E41FFC4}"/>
          </ac:picMkLst>
        </pc:picChg>
        <pc:picChg chg="mod">
          <ac:chgData name="Lorenzo Negro" userId="f5c1ec43-de79-40b8-82f6-f96ea1916685" providerId="ADAL" clId="{03DDE8F0-7760-6445-82E5-3D78AF516955}" dt="2023-07-21T10:14:10.866" v="1750" actId="1076"/>
          <ac:picMkLst>
            <pc:docMk/>
            <pc:sldMk cId="965223953" sldId="2147469243"/>
            <ac:picMk id="21" creationId="{F85EDB8E-524A-46C3-AB89-30DE9799FAA9}"/>
          </ac:picMkLst>
        </pc:picChg>
        <pc:picChg chg="mod">
          <ac:chgData name="Lorenzo Negro" userId="f5c1ec43-de79-40b8-82f6-f96ea1916685" providerId="ADAL" clId="{03DDE8F0-7760-6445-82E5-3D78AF516955}" dt="2023-07-21T10:14:10.866" v="1750" actId="1076"/>
          <ac:picMkLst>
            <pc:docMk/>
            <pc:sldMk cId="965223953" sldId="2147469243"/>
            <ac:picMk id="23" creationId="{69A89650-F41B-4CA5-964A-BBB8D1A02C0F}"/>
          </ac:picMkLst>
        </pc:picChg>
        <pc:picChg chg="mod">
          <ac:chgData name="Lorenzo Negro" userId="f5c1ec43-de79-40b8-82f6-f96ea1916685" providerId="ADAL" clId="{03DDE8F0-7760-6445-82E5-3D78AF516955}" dt="2023-07-21T11:24:41.103" v="1943" actId="14100"/>
          <ac:picMkLst>
            <pc:docMk/>
            <pc:sldMk cId="965223953" sldId="2147469243"/>
            <ac:picMk id="37" creationId="{3C45F7D7-40F0-A0BE-7F04-37970C8C241B}"/>
          </ac:picMkLst>
        </pc:picChg>
        <pc:picChg chg="mod">
          <ac:chgData name="Lorenzo Negro" userId="f5c1ec43-de79-40b8-82f6-f96ea1916685" providerId="ADAL" clId="{03DDE8F0-7760-6445-82E5-3D78AF516955}" dt="2023-07-21T11:24:41.103" v="1943" actId="14100"/>
          <ac:picMkLst>
            <pc:docMk/>
            <pc:sldMk cId="965223953" sldId="2147469243"/>
            <ac:picMk id="49" creationId="{3B42395C-BDE4-257D-2358-1D87ECD054BE}"/>
          </ac:picMkLst>
        </pc:picChg>
        <pc:picChg chg="mod">
          <ac:chgData name="Lorenzo Negro" userId="f5c1ec43-de79-40b8-82f6-f96ea1916685" providerId="ADAL" clId="{03DDE8F0-7760-6445-82E5-3D78AF516955}" dt="2023-07-21T10:17:12.643" v="1808" actId="1076"/>
          <ac:picMkLst>
            <pc:docMk/>
            <pc:sldMk cId="965223953" sldId="2147469243"/>
            <ac:picMk id="53" creationId="{CC729AFA-6977-5E4D-7212-F9AEEF3A3315}"/>
          </ac:picMkLst>
        </pc:picChg>
        <pc:cxnChg chg="add mod">
          <ac:chgData name="Lorenzo Negro" userId="f5c1ec43-de79-40b8-82f6-f96ea1916685" providerId="ADAL" clId="{03DDE8F0-7760-6445-82E5-3D78AF516955}" dt="2023-07-21T10:15:24.273" v="1786" actId="1037"/>
          <ac:cxnSpMkLst>
            <pc:docMk/>
            <pc:sldMk cId="965223953" sldId="2147469243"/>
            <ac:cxnSpMk id="5" creationId="{369D29EE-CE79-B70D-FA3F-2B9651F88452}"/>
          </ac:cxnSpMkLst>
        </pc:cxnChg>
        <pc:cxnChg chg="add mod">
          <ac:chgData name="Lorenzo Negro" userId="f5c1ec43-de79-40b8-82f6-f96ea1916685" providerId="ADAL" clId="{03DDE8F0-7760-6445-82E5-3D78AF516955}" dt="2023-07-21T10:15:29.155" v="1787" actId="571"/>
          <ac:cxnSpMkLst>
            <pc:docMk/>
            <pc:sldMk cId="965223953" sldId="2147469243"/>
            <ac:cxnSpMk id="8" creationId="{05677E67-127A-A9F1-665C-03E1D839EAC0}"/>
          </ac:cxnSpMkLst>
        </pc:cxnChg>
        <pc:cxnChg chg="mod">
          <ac:chgData name="Lorenzo Negro" userId="f5c1ec43-de79-40b8-82f6-f96ea1916685" providerId="ADAL" clId="{03DDE8F0-7760-6445-82E5-3D78AF516955}" dt="2023-07-21T11:24:41.103" v="1943" actId="14100"/>
          <ac:cxnSpMkLst>
            <pc:docMk/>
            <pc:sldMk cId="965223953" sldId="2147469243"/>
            <ac:cxnSpMk id="45" creationId="{5183134B-DC3C-71F1-4242-C0217B2330E5}"/>
          </ac:cxnSpMkLst>
        </pc:cxnChg>
        <pc:cxnChg chg="mod">
          <ac:chgData name="Lorenzo Negro" userId="f5c1ec43-de79-40b8-82f6-f96ea1916685" providerId="ADAL" clId="{03DDE8F0-7760-6445-82E5-3D78AF516955}" dt="2023-07-21T11:24:41.103" v="1943" actId="14100"/>
          <ac:cxnSpMkLst>
            <pc:docMk/>
            <pc:sldMk cId="965223953" sldId="2147469243"/>
            <ac:cxnSpMk id="50" creationId="{F9D30A31-2404-83A9-2572-EEBA1B8C076E}"/>
          </ac:cxnSpMkLst>
        </pc:cxnChg>
      </pc:sldChg>
      <pc:sldChg chg="addSp delSp modSp add mod">
        <pc:chgData name="Lorenzo Negro" userId="f5c1ec43-de79-40b8-82f6-f96ea1916685" providerId="ADAL" clId="{03DDE8F0-7760-6445-82E5-3D78AF516955}" dt="2023-07-27T11:55:43.214" v="2032" actId="1076"/>
        <pc:sldMkLst>
          <pc:docMk/>
          <pc:sldMk cId="193428646" sldId="2147469244"/>
        </pc:sldMkLst>
        <pc:spChg chg="mod">
          <ac:chgData name="Lorenzo Negro" userId="f5c1ec43-de79-40b8-82f6-f96ea1916685" providerId="ADAL" clId="{03DDE8F0-7760-6445-82E5-3D78AF516955}" dt="2023-07-27T11:55:43.214" v="2032" actId="1076"/>
          <ac:spMkLst>
            <pc:docMk/>
            <pc:sldMk cId="193428646" sldId="2147469244"/>
            <ac:spMk id="4" creationId="{D746BEB9-B347-48D8-B98E-CD692781D7C8}"/>
          </ac:spMkLst>
        </pc:spChg>
        <pc:picChg chg="add mod">
          <ac:chgData name="Lorenzo Negro" userId="f5c1ec43-de79-40b8-82f6-f96ea1916685" providerId="ADAL" clId="{03DDE8F0-7760-6445-82E5-3D78AF516955}" dt="2023-07-27T11:54:48.271" v="2024" actId="1076"/>
          <ac:picMkLst>
            <pc:docMk/>
            <pc:sldMk cId="193428646" sldId="2147469244"/>
            <ac:picMk id="5" creationId="{E83E58BD-D249-6C49-268A-B3D3E4B86588}"/>
          </ac:picMkLst>
        </pc:picChg>
        <pc:picChg chg="del">
          <ac:chgData name="Lorenzo Negro" userId="f5c1ec43-de79-40b8-82f6-f96ea1916685" providerId="ADAL" clId="{03DDE8F0-7760-6445-82E5-3D78AF516955}" dt="2023-07-24T15:21:41.891" v="2007" actId="478"/>
          <ac:picMkLst>
            <pc:docMk/>
            <pc:sldMk cId="193428646" sldId="2147469244"/>
            <ac:picMk id="10" creationId="{4EB3B609-4B39-47A5-9D72-E6B6D7D16FE6}"/>
          </ac:picMkLst>
        </pc:picChg>
        <pc:picChg chg="del">
          <ac:chgData name="Lorenzo Negro" userId="f5c1ec43-de79-40b8-82f6-f96ea1916685" providerId="ADAL" clId="{03DDE8F0-7760-6445-82E5-3D78AF516955}" dt="2023-07-24T15:21:40.907" v="2006" actId="478"/>
          <ac:picMkLst>
            <pc:docMk/>
            <pc:sldMk cId="193428646" sldId="2147469244"/>
            <ac:picMk id="1034" creationId="{B60AEBB7-D190-4D5D-9628-9E96D773866A}"/>
          </ac:picMkLst>
        </pc:picChg>
      </pc:sldChg>
      <pc:sldMasterChg chg="delSp mod">
        <pc:chgData name="Lorenzo Negro" userId="f5c1ec43-de79-40b8-82f6-f96ea1916685" providerId="ADAL" clId="{03DDE8F0-7760-6445-82E5-3D78AF516955}" dt="2023-07-21T08:46:06.102" v="1258" actId="478"/>
        <pc:sldMasterMkLst>
          <pc:docMk/>
          <pc:sldMasterMk cId="2428608412" sldId="2147483663"/>
        </pc:sldMasterMkLst>
        <pc:grpChg chg="del">
          <ac:chgData name="Lorenzo Negro" userId="f5c1ec43-de79-40b8-82f6-f96ea1916685" providerId="ADAL" clId="{03DDE8F0-7760-6445-82E5-3D78AF516955}" dt="2023-07-21T08:46:06.102" v="1258" actId="478"/>
          <ac:grpSpMkLst>
            <pc:docMk/>
            <pc:sldMasterMk cId="2428608412" sldId="2147483663"/>
            <ac:grpSpMk id="5" creationId="{00000000-0000-0000-0000-000000000000}"/>
          </ac:grpSpMkLst>
        </pc:grpChg>
      </pc:sldMasterChg>
      <pc:sldMasterChg chg="delSp mod">
        <pc:chgData name="Lorenzo Negro" userId="f5c1ec43-de79-40b8-82f6-f96ea1916685" providerId="ADAL" clId="{03DDE8F0-7760-6445-82E5-3D78AF516955}" dt="2023-07-21T08:45:55.270" v="1257" actId="478"/>
        <pc:sldMasterMkLst>
          <pc:docMk/>
          <pc:sldMasterMk cId="1311615295" sldId="2147483671"/>
        </pc:sldMasterMkLst>
        <pc:grpChg chg="del">
          <ac:chgData name="Lorenzo Negro" userId="f5c1ec43-de79-40b8-82f6-f96ea1916685" providerId="ADAL" clId="{03DDE8F0-7760-6445-82E5-3D78AF516955}" dt="2023-07-21T08:45:55.270" v="1257" actId="478"/>
          <ac:grpSpMkLst>
            <pc:docMk/>
            <pc:sldMasterMk cId="1311615295" sldId="2147483671"/>
            <ac:grpSpMk id="2" creationId="{FB6B1B85-3120-D647-8AF7-BA422AF2EB7C}"/>
          </ac:grpSpMkLst>
        </pc:grpChg>
      </pc:sldMasterChg>
      <pc:sldMasterChg chg="modSldLayout">
        <pc:chgData name="Lorenzo Negro" userId="f5c1ec43-de79-40b8-82f6-f96ea1916685" providerId="ADAL" clId="{03DDE8F0-7760-6445-82E5-3D78AF516955}" dt="2023-07-21T08:46:11.441" v="1259" actId="478"/>
        <pc:sldMasterMkLst>
          <pc:docMk/>
          <pc:sldMasterMk cId="1771938632" sldId="2147483674"/>
        </pc:sldMasterMkLst>
        <pc:sldLayoutChg chg="delSp mod">
          <pc:chgData name="Lorenzo Negro" userId="f5c1ec43-de79-40b8-82f6-f96ea1916685" providerId="ADAL" clId="{03DDE8F0-7760-6445-82E5-3D78AF516955}" dt="2023-07-21T08:46:11.441" v="1259" actId="478"/>
          <pc:sldLayoutMkLst>
            <pc:docMk/>
            <pc:sldMasterMk cId="1771938632" sldId="2147483674"/>
            <pc:sldLayoutMk cId="3345445451" sldId="2147483687"/>
          </pc:sldLayoutMkLst>
          <pc:grpChg chg="del">
            <ac:chgData name="Lorenzo Negro" userId="f5c1ec43-de79-40b8-82f6-f96ea1916685" providerId="ADAL" clId="{03DDE8F0-7760-6445-82E5-3D78AF516955}" dt="2023-07-21T08:46:11.441" v="1259" actId="478"/>
            <ac:grpSpMkLst>
              <pc:docMk/>
              <pc:sldMasterMk cId="1771938632" sldId="2147483674"/>
              <pc:sldLayoutMk cId="3345445451" sldId="2147483687"/>
              <ac:grpSpMk id="5" creationId="{17B15CF5-EABF-8A4C-9053-59F1B3292BDC}"/>
            </ac:grpSpMkLst>
          </pc:grpChg>
        </pc:sldLayoutChg>
      </pc:sldMasterChg>
      <pc:sldMasterChg chg="delSp mod">
        <pc:chgData name="Lorenzo Negro" userId="f5c1ec43-de79-40b8-82f6-f96ea1916685" providerId="ADAL" clId="{03DDE8F0-7760-6445-82E5-3D78AF516955}" dt="2023-07-21T08:46:15.055" v="1260" actId="478"/>
        <pc:sldMasterMkLst>
          <pc:docMk/>
          <pc:sldMasterMk cId="194019860" sldId="2147483689"/>
        </pc:sldMasterMkLst>
        <pc:grpChg chg="del">
          <ac:chgData name="Lorenzo Negro" userId="f5c1ec43-de79-40b8-82f6-f96ea1916685" providerId="ADAL" clId="{03DDE8F0-7760-6445-82E5-3D78AF516955}" dt="2023-07-21T08:46:15.055" v="1260" actId="478"/>
          <ac:grpSpMkLst>
            <pc:docMk/>
            <pc:sldMasterMk cId="194019860" sldId="2147483689"/>
            <ac:grpSpMk id="5" creationId="{00000000-0000-0000-0000-000000000000}"/>
          </ac:grpSpMkLst>
        </pc:grpChg>
      </pc:sldMasterChg>
      <pc:sldMasterChg chg="delSp mod">
        <pc:chgData name="Lorenzo Negro" userId="f5c1ec43-de79-40b8-82f6-f96ea1916685" providerId="ADAL" clId="{03DDE8F0-7760-6445-82E5-3D78AF516955}" dt="2023-07-21T08:46:17.203" v="1261" actId="478"/>
        <pc:sldMasterMkLst>
          <pc:docMk/>
          <pc:sldMasterMk cId="4005819704" sldId="2147483691"/>
        </pc:sldMasterMkLst>
        <pc:grpChg chg="del">
          <ac:chgData name="Lorenzo Negro" userId="f5c1ec43-de79-40b8-82f6-f96ea1916685" providerId="ADAL" clId="{03DDE8F0-7760-6445-82E5-3D78AF516955}" dt="2023-07-21T08:46:17.203" v="1261" actId="478"/>
          <ac:grpSpMkLst>
            <pc:docMk/>
            <pc:sldMasterMk cId="4005819704" sldId="2147483691"/>
            <ac:grpSpMk id="5" creationId="{00000000-0000-0000-0000-000000000000}"/>
          </ac:grpSpMkLst>
        </pc:grpChg>
      </pc:sldMasterChg>
      <pc:sldMasterChg chg="delSp mod">
        <pc:chgData name="Lorenzo Negro" userId="f5c1ec43-de79-40b8-82f6-f96ea1916685" providerId="ADAL" clId="{03DDE8F0-7760-6445-82E5-3D78AF516955}" dt="2023-07-21T08:43:29.986" v="1215" actId="478"/>
        <pc:sldMasterMkLst>
          <pc:docMk/>
          <pc:sldMasterMk cId="3230122666" sldId="2147483694"/>
        </pc:sldMasterMkLst>
        <pc:grpChg chg="del">
          <ac:chgData name="Lorenzo Negro" userId="f5c1ec43-de79-40b8-82f6-f96ea1916685" providerId="ADAL" clId="{03DDE8F0-7760-6445-82E5-3D78AF516955}" dt="2023-07-21T08:43:29.986" v="1215" actId="478"/>
          <ac:grpSpMkLst>
            <pc:docMk/>
            <pc:sldMasterMk cId="3230122666" sldId="2147483694"/>
            <ac:grpSpMk id="5" creationId="{00000000-0000-0000-0000-000000000000}"/>
          </ac:grpSpMkLst>
        </pc:grpChg>
      </pc:sldMasterChg>
      <pc:sldMasterChg chg="delSp mod">
        <pc:chgData name="Lorenzo Negro" userId="f5c1ec43-de79-40b8-82f6-f96ea1916685" providerId="ADAL" clId="{03DDE8F0-7760-6445-82E5-3D78AF516955}" dt="2023-07-21T08:46:20.981" v="1262" actId="478"/>
        <pc:sldMasterMkLst>
          <pc:docMk/>
          <pc:sldMasterMk cId="850300574" sldId="2147483696"/>
        </pc:sldMasterMkLst>
        <pc:grpChg chg="del">
          <ac:chgData name="Lorenzo Negro" userId="f5c1ec43-de79-40b8-82f6-f96ea1916685" providerId="ADAL" clId="{03DDE8F0-7760-6445-82E5-3D78AF516955}" dt="2023-07-21T08:46:20.981" v="1262" actId="478"/>
          <ac:grpSpMkLst>
            <pc:docMk/>
            <pc:sldMasterMk cId="850300574" sldId="2147483696"/>
            <ac:grpSpMk id="5" creationId="{00000000-0000-0000-0000-000000000000}"/>
          </ac:grpSpMkLst>
        </pc:grpChg>
      </pc:sldMasterChg>
    </pc:docChg>
  </pc:docChgLst>
  <pc:docChgLst>
    <pc:chgData name="Lorenzo Negro" userId="f5c1ec43-de79-40b8-82f6-f96ea1916685" providerId="ADAL" clId="{8AA08CF7-ECCA-3E46-89E4-9EC811F284B1}"/>
    <pc:docChg chg="undo custSel addSld delSld modSld">
      <pc:chgData name="Lorenzo Negro" userId="f5c1ec43-de79-40b8-82f6-f96ea1916685" providerId="ADAL" clId="{8AA08CF7-ECCA-3E46-89E4-9EC811F284B1}" dt="2023-09-18T09:41:14.964" v="47" actId="14100"/>
      <pc:docMkLst>
        <pc:docMk/>
      </pc:docMkLst>
      <pc:sldChg chg="modSp mod">
        <pc:chgData name="Lorenzo Negro" userId="f5c1ec43-de79-40b8-82f6-f96ea1916685" providerId="ADAL" clId="{8AA08CF7-ECCA-3E46-89E4-9EC811F284B1}" dt="2023-09-18T09:41:14.964" v="47" actId="14100"/>
        <pc:sldMkLst>
          <pc:docMk/>
          <pc:sldMk cId="2089286502" sldId="7190"/>
        </pc:sldMkLst>
        <pc:spChg chg="mod">
          <ac:chgData name="Lorenzo Negro" userId="f5c1ec43-de79-40b8-82f6-f96ea1916685" providerId="ADAL" clId="{8AA08CF7-ECCA-3E46-89E4-9EC811F284B1}" dt="2023-09-18T09:41:12.224" v="46" actId="14100"/>
          <ac:spMkLst>
            <pc:docMk/>
            <pc:sldMk cId="2089286502" sldId="7190"/>
            <ac:spMk id="7" creationId="{3F734BF6-7B6F-3D4C-96AA-02174C3FF721}"/>
          </ac:spMkLst>
        </pc:spChg>
        <pc:cxnChg chg="mod">
          <ac:chgData name="Lorenzo Negro" userId="f5c1ec43-de79-40b8-82f6-f96ea1916685" providerId="ADAL" clId="{8AA08CF7-ECCA-3E46-89E4-9EC811F284B1}" dt="2023-09-18T09:41:14.964" v="47" actId="14100"/>
          <ac:cxnSpMkLst>
            <pc:docMk/>
            <pc:sldMk cId="2089286502" sldId="7190"/>
            <ac:cxnSpMk id="16" creationId="{6A8AEEC4-4FB1-B042-4256-E98CF86E7CCA}"/>
          </ac:cxnSpMkLst>
        </pc:cxnChg>
      </pc:sldChg>
      <pc:sldChg chg="delSp modSp mod">
        <pc:chgData name="Lorenzo Negro" userId="f5c1ec43-de79-40b8-82f6-f96ea1916685" providerId="ADAL" clId="{8AA08CF7-ECCA-3E46-89E4-9EC811F284B1}" dt="2023-09-04T14:08:36.805" v="38" actId="1076"/>
        <pc:sldMkLst>
          <pc:docMk/>
          <pc:sldMk cId="3631842525" sldId="2147469220"/>
        </pc:sldMkLst>
        <pc:spChg chg="mod topLvl">
          <ac:chgData name="Lorenzo Negro" userId="f5c1ec43-de79-40b8-82f6-f96ea1916685" providerId="ADAL" clId="{8AA08CF7-ECCA-3E46-89E4-9EC811F284B1}" dt="2023-09-04T14:08:14.128" v="32" actId="1076"/>
          <ac:spMkLst>
            <pc:docMk/>
            <pc:sldMk cId="3631842525" sldId="2147469220"/>
            <ac:spMk id="7" creationId="{57B2CB17-911A-4E96-86C8-154B30DD8497}"/>
          </ac:spMkLst>
        </pc:spChg>
        <pc:spChg chg="mod topLvl">
          <ac:chgData name="Lorenzo Negro" userId="f5c1ec43-de79-40b8-82f6-f96ea1916685" providerId="ADAL" clId="{8AA08CF7-ECCA-3E46-89E4-9EC811F284B1}" dt="2023-09-04T14:08:26.349" v="36" actId="1076"/>
          <ac:spMkLst>
            <pc:docMk/>
            <pc:sldMk cId="3631842525" sldId="2147469220"/>
            <ac:spMk id="8" creationId="{8A52DD4B-269A-4A15-8EA1-6D8DD56D461A}"/>
          </ac:spMkLst>
        </pc:spChg>
        <pc:spChg chg="mod topLvl">
          <ac:chgData name="Lorenzo Negro" userId="f5c1ec43-de79-40b8-82f6-f96ea1916685" providerId="ADAL" clId="{8AA08CF7-ECCA-3E46-89E4-9EC811F284B1}" dt="2023-09-04T14:06:55.441" v="25" actId="12788"/>
          <ac:spMkLst>
            <pc:docMk/>
            <pc:sldMk cId="3631842525" sldId="2147469220"/>
            <ac:spMk id="9" creationId="{57569D85-D785-4928-80E3-C07DE5066DCA}"/>
          </ac:spMkLst>
        </pc:spChg>
        <pc:spChg chg="mod topLvl">
          <ac:chgData name="Lorenzo Negro" userId="f5c1ec43-de79-40b8-82f6-f96ea1916685" providerId="ADAL" clId="{8AA08CF7-ECCA-3E46-89E4-9EC811F284B1}" dt="2023-09-04T14:08:17.150" v="33" actId="1076"/>
          <ac:spMkLst>
            <pc:docMk/>
            <pc:sldMk cId="3631842525" sldId="2147469220"/>
            <ac:spMk id="10" creationId="{4C6499AE-95BC-414A-A663-01580AD93788}"/>
          </ac:spMkLst>
        </pc:spChg>
        <pc:spChg chg="mod topLvl">
          <ac:chgData name="Lorenzo Negro" userId="f5c1ec43-de79-40b8-82f6-f96ea1916685" providerId="ADAL" clId="{8AA08CF7-ECCA-3E46-89E4-9EC811F284B1}" dt="2023-09-04T14:08:19.549" v="34" actId="1076"/>
          <ac:spMkLst>
            <pc:docMk/>
            <pc:sldMk cId="3631842525" sldId="2147469220"/>
            <ac:spMk id="11" creationId="{2E84402B-985F-4CC8-8080-E338DC8E6633}"/>
          </ac:spMkLst>
        </pc:spChg>
        <pc:spChg chg="mod topLvl">
          <ac:chgData name="Lorenzo Negro" userId="f5c1ec43-de79-40b8-82f6-f96ea1916685" providerId="ADAL" clId="{8AA08CF7-ECCA-3E46-89E4-9EC811F284B1}" dt="2023-09-04T14:08:36.805" v="38" actId="1076"/>
          <ac:spMkLst>
            <pc:docMk/>
            <pc:sldMk cId="3631842525" sldId="2147469220"/>
            <ac:spMk id="12" creationId="{B387ED14-DA9E-434A-828C-0A2F8DFA1EE5}"/>
          </ac:spMkLst>
        </pc:spChg>
        <pc:spChg chg="mod topLvl">
          <ac:chgData name="Lorenzo Negro" userId="f5c1ec43-de79-40b8-82f6-f96ea1916685" providerId="ADAL" clId="{8AA08CF7-ECCA-3E46-89E4-9EC811F284B1}" dt="2023-09-04T14:06:55.441" v="25" actId="12788"/>
          <ac:spMkLst>
            <pc:docMk/>
            <pc:sldMk cId="3631842525" sldId="2147469220"/>
            <ac:spMk id="13" creationId="{56AC2019-CF21-4ED7-9027-502AA4DC7340}"/>
          </ac:spMkLst>
        </pc:spChg>
        <pc:spChg chg="mod">
          <ac:chgData name="Lorenzo Negro" userId="f5c1ec43-de79-40b8-82f6-f96ea1916685" providerId="ADAL" clId="{8AA08CF7-ECCA-3E46-89E4-9EC811F284B1}" dt="2023-09-04T14:06:55.441" v="25" actId="12788"/>
          <ac:spMkLst>
            <pc:docMk/>
            <pc:sldMk cId="3631842525" sldId="2147469220"/>
            <ac:spMk id="22" creationId="{ACA7EE1B-9CAD-48EA-B786-B31B1895AD5E}"/>
          </ac:spMkLst>
        </pc:spChg>
        <pc:grpChg chg="del">
          <ac:chgData name="Lorenzo Negro" userId="f5c1ec43-de79-40b8-82f6-f96ea1916685" providerId="ADAL" clId="{8AA08CF7-ECCA-3E46-89E4-9EC811F284B1}" dt="2023-09-04T14:06:47.733" v="24" actId="165"/>
          <ac:grpSpMkLst>
            <pc:docMk/>
            <pc:sldMk cId="3631842525" sldId="2147469220"/>
            <ac:grpSpMk id="6" creationId="{D335857A-6CA6-49B7-8F79-A048166011D3}"/>
          </ac:grpSpMkLst>
        </pc:grpChg>
        <pc:grpChg chg="mod">
          <ac:chgData name="Lorenzo Negro" userId="f5c1ec43-de79-40b8-82f6-f96ea1916685" providerId="ADAL" clId="{8AA08CF7-ECCA-3E46-89E4-9EC811F284B1}" dt="2023-09-04T14:08:33.909" v="37" actId="1076"/>
          <ac:grpSpMkLst>
            <pc:docMk/>
            <pc:sldMk cId="3631842525" sldId="2147469220"/>
            <ac:grpSpMk id="18" creationId="{ACC27634-ECCA-4C27-80DA-499932820CF2}"/>
          </ac:grpSpMkLst>
        </pc:grpChg>
        <pc:grpChg chg="mod">
          <ac:chgData name="Lorenzo Negro" userId="f5c1ec43-de79-40b8-82f6-f96ea1916685" providerId="ADAL" clId="{8AA08CF7-ECCA-3E46-89E4-9EC811F284B1}" dt="2023-09-04T14:07:02.565" v="27" actId="1035"/>
          <ac:grpSpMkLst>
            <pc:docMk/>
            <pc:sldMk cId="3631842525" sldId="2147469220"/>
            <ac:grpSpMk id="24" creationId="{F9D656CF-C54D-40AE-AB86-910944960135}"/>
          </ac:grpSpMkLst>
        </pc:grpChg>
        <pc:grpChg chg="mod">
          <ac:chgData name="Lorenzo Negro" userId="f5c1ec43-de79-40b8-82f6-f96ea1916685" providerId="ADAL" clId="{8AA08CF7-ECCA-3E46-89E4-9EC811F284B1}" dt="2023-09-04T14:06:55.441" v="25" actId="12788"/>
          <ac:grpSpMkLst>
            <pc:docMk/>
            <pc:sldMk cId="3631842525" sldId="2147469220"/>
            <ac:grpSpMk id="27" creationId="{342D45C2-385F-4394-A3AD-F0019D346E05}"/>
          </ac:grpSpMkLst>
        </pc:grpChg>
        <pc:picChg chg="mod">
          <ac:chgData name="Lorenzo Negro" userId="f5c1ec43-de79-40b8-82f6-f96ea1916685" providerId="ADAL" clId="{8AA08CF7-ECCA-3E46-89E4-9EC811F284B1}" dt="2023-09-04T14:07:10.759" v="29" actId="1036"/>
          <ac:picMkLst>
            <pc:docMk/>
            <pc:sldMk cId="3631842525" sldId="2147469220"/>
            <ac:picMk id="20" creationId="{992F852B-1C01-469E-A721-59216845E15C}"/>
          </ac:picMkLst>
        </pc:picChg>
        <pc:picChg chg="mod">
          <ac:chgData name="Lorenzo Negro" userId="f5c1ec43-de79-40b8-82f6-f96ea1916685" providerId="ADAL" clId="{8AA08CF7-ECCA-3E46-89E4-9EC811F284B1}" dt="2023-09-04T14:07:07.064" v="28" actId="1036"/>
          <ac:picMkLst>
            <pc:docMk/>
            <pc:sldMk cId="3631842525" sldId="2147469220"/>
            <ac:picMk id="26" creationId="{72C2642B-3BFA-4A9E-990E-0EE47EAC50A3}"/>
          </ac:picMkLst>
        </pc:picChg>
        <pc:picChg chg="mod">
          <ac:chgData name="Lorenzo Negro" userId="f5c1ec43-de79-40b8-82f6-f96ea1916685" providerId="ADAL" clId="{8AA08CF7-ECCA-3E46-89E4-9EC811F284B1}" dt="2023-09-04T14:06:55.441" v="25" actId="12788"/>
          <ac:picMkLst>
            <pc:docMk/>
            <pc:sldMk cId="3631842525" sldId="2147469220"/>
            <ac:picMk id="37" creationId="{57EB3191-38FD-4CE4-B109-3B25B0FC909C}"/>
          </ac:picMkLst>
        </pc:picChg>
      </pc:sldChg>
      <pc:sldChg chg="modSp mod">
        <pc:chgData name="Lorenzo Negro" userId="f5c1ec43-de79-40b8-82f6-f96ea1916685" providerId="ADAL" clId="{8AA08CF7-ECCA-3E46-89E4-9EC811F284B1}" dt="2023-09-04T10:16:55.152" v="19" actId="20577"/>
        <pc:sldMkLst>
          <pc:docMk/>
          <pc:sldMk cId="3764745504" sldId="2147469225"/>
        </pc:sldMkLst>
        <pc:spChg chg="mod">
          <ac:chgData name="Lorenzo Negro" userId="f5c1ec43-de79-40b8-82f6-f96ea1916685" providerId="ADAL" clId="{8AA08CF7-ECCA-3E46-89E4-9EC811F284B1}" dt="2023-09-04T10:16:55.152" v="19" actId="20577"/>
          <ac:spMkLst>
            <pc:docMk/>
            <pc:sldMk cId="3764745504" sldId="2147469225"/>
            <ac:spMk id="27" creationId="{3B1D8E64-2505-4015-A9C6-D127370E8BF8}"/>
          </ac:spMkLst>
        </pc:spChg>
      </pc:sldChg>
      <pc:sldChg chg="modSp">
        <pc:chgData name="Lorenzo Negro" userId="f5c1ec43-de79-40b8-82f6-f96ea1916685" providerId="ADAL" clId="{8AA08CF7-ECCA-3E46-89E4-9EC811F284B1}" dt="2023-09-18T09:37:30.874" v="39" actId="14826"/>
        <pc:sldMkLst>
          <pc:docMk/>
          <pc:sldMk cId="193428646" sldId="2147469244"/>
        </pc:sldMkLst>
        <pc:picChg chg="mod">
          <ac:chgData name="Lorenzo Negro" userId="f5c1ec43-de79-40b8-82f6-f96ea1916685" providerId="ADAL" clId="{8AA08CF7-ECCA-3E46-89E4-9EC811F284B1}" dt="2023-09-18T09:37:30.874" v="39" actId="14826"/>
          <ac:picMkLst>
            <pc:docMk/>
            <pc:sldMk cId="193428646" sldId="2147469244"/>
            <ac:picMk id="5" creationId="{E83E58BD-D249-6C49-268A-B3D3E4B86588}"/>
          </ac:picMkLst>
        </pc:picChg>
      </pc:sldChg>
      <pc:sldChg chg="add del">
        <pc:chgData name="Lorenzo Negro" userId="f5c1ec43-de79-40b8-82f6-f96ea1916685" providerId="ADAL" clId="{8AA08CF7-ECCA-3E46-89E4-9EC811F284B1}" dt="2023-09-04T13:03:19.628" v="21"/>
        <pc:sldMkLst>
          <pc:docMk/>
          <pc:sldMk cId="2252422246" sldId="2147469245"/>
        </pc:sldMkLst>
      </pc:sldChg>
      <pc:sldChg chg="add del">
        <pc:chgData name="Lorenzo Negro" userId="f5c1ec43-de79-40b8-82f6-f96ea1916685" providerId="ADAL" clId="{8AA08CF7-ECCA-3E46-89E4-9EC811F284B1}" dt="2023-09-04T13:03:29.097" v="23"/>
        <pc:sldMkLst>
          <pc:docMk/>
          <pc:sldMk cId="2516533106" sldId="2147469245"/>
        </pc:sldMkLst>
      </pc:sldChg>
      <pc:sldChg chg="add del">
        <pc:chgData name="Lorenzo Negro" userId="f5c1ec43-de79-40b8-82f6-f96ea1916685" providerId="ADAL" clId="{8AA08CF7-ECCA-3E46-89E4-9EC811F284B1}" dt="2023-09-04T13:03:29.097" v="23"/>
        <pc:sldMkLst>
          <pc:docMk/>
          <pc:sldMk cId="1658756137" sldId="2147469246"/>
        </pc:sldMkLst>
      </pc:sldChg>
      <pc:sldChg chg="add del">
        <pc:chgData name="Lorenzo Negro" userId="f5c1ec43-de79-40b8-82f6-f96ea1916685" providerId="ADAL" clId="{8AA08CF7-ECCA-3E46-89E4-9EC811F284B1}" dt="2023-09-04T13:03:19.628" v="21"/>
        <pc:sldMkLst>
          <pc:docMk/>
          <pc:sldMk cId="3445331990" sldId="214746924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1BF7_909B1DD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1C17_95464645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1BC6_D4B3CE0B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365767986929725"/>
          <c:y val="0.10115886935923159"/>
          <c:w val="0.51191036022044301"/>
          <c:h val="0.70279189172809819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2</c:v>
                </c:pt>
              </c:strCache>
            </c:strRef>
          </c:tx>
          <c:spPr>
            <a:solidFill>
              <a:schemeClr val="lt1"/>
            </a:solidFill>
            <a:ln w="190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542-1F46-A4EA-B0D3F77E6138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542-1F46-A4EA-B0D3F77E6138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542-1F46-A4EA-B0D3F77E6138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542-1F46-A4EA-B0D3F77E6138}"/>
              </c:ext>
            </c:extLst>
          </c:dPt>
          <c:dLbls>
            <c:delete val="1"/>
          </c:dLbls>
          <c:cat>
            <c:numRef>
              <c:f>Foglio1!$B$2:$B$5</c:f>
              <c:numCache>
                <c:formatCode>General</c:formatCode>
                <c:ptCount val="4"/>
                <c:pt idx="0">
                  <c:v>45</c:v>
                </c:pt>
                <c:pt idx="1">
                  <c:v>12</c:v>
                </c:pt>
                <c:pt idx="2">
                  <c:v>36</c:v>
                </c:pt>
                <c:pt idx="3">
                  <c:v>7</c:v>
                </c:pt>
              </c:numCache>
            </c:numRef>
          </c:cat>
          <c:val>
            <c:numRef>
              <c:f>Foglio1!$B$2:$B$5</c:f>
              <c:numCache>
                <c:formatCode>General</c:formatCode>
                <c:ptCount val="4"/>
                <c:pt idx="0">
                  <c:v>45</c:v>
                </c:pt>
                <c:pt idx="1">
                  <c:v>12</c:v>
                </c:pt>
                <c:pt idx="2">
                  <c:v>36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42-1F46-A4EA-B0D3F77E61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25628347754428E-2"/>
          <c:y val="2.1425628347754428E-2"/>
          <c:w val="0.95714874330449118"/>
          <c:h val="0.95714874330449118"/>
        </c:manualLayout>
      </c:layout>
      <c:doughnutChart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explosion val="3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2DF-4317-B201-D3895A876AD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F2DF-4317-B201-D3895A876AD4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F2DF-4317-B201-D3895A876AD4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F2DF-4317-B201-D3895A876AD4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F2DF-4317-B201-D3895A876AD4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F2DF-4317-B201-D3895A876AD4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F2DF-4317-B201-D3895A876AD4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F2DF-4317-B201-D3895A876AD4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16.600000000000001</c:v>
                </c:pt>
                <c:pt idx="1">
                  <c:v>16.600000000000001</c:v>
                </c:pt>
                <c:pt idx="2">
                  <c:v>16.600000000000001</c:v>
                </c:pt>
                <c:pt idx="3">
                  <c:v>16.600000000000001</c:v>
                </c:pt>
                <c:pt idx="4">
                  <c:v>16.600000000000001</c:v>
                </c:pt>
                <c:pt idx="5">
                  <c:v>16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2DF-4317-B201-D3895A876A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8"/>
      </c:doughnutChart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25628347754428E-2"/>
          <c:y val="2.1425628347754428E-2"/>
          <c:w val="0.95714874330449118"/>
          <c:h val="0.9571487433044911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2DF-4317-B201-D3895A876AD4}"/>
              </c:ext>
            </c:extLst>
          </c:dPt>
          <c:dPt>
            <c:idx val="1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2DF-4317-B201-D3895A876AD4}"/>
              </c:ext>
            </c:extLst>
          </c:dPt>
          <c:dPt>
            <c:idx val="2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2DF-4317-B201-D3895A876AD4}"/>
              </c:ext>
            </c:extLst>
          </c:dPt>
          <c:dPt>
            <c:idx val="3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2DF-4317-B201-D3895A876AD4}"/>
              </c:ext>
            </c:extLst>
          </c:dPt>
          <c:dPt>
            <c:idx val="4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2DF-4317-B201-D3895A876AD4}"/>
              </c:ext>
            </c:extLst>
          </c:dPt>
          <c:dPt>
            <c:idx val="5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F2DF-4317-B201-D3895A876AD4}"/>
              </c:ext>
            </c:extLst>
          </c:dPt>
          <c:dPt>
            <c:idx val="6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F2DF-4317-B201-D3895A876AD4}"/>
              </c:ext>
            </c:extLst>
          </c:dPt>
          <c:dPt>
            <c:idx val="7"/>
            <c:bubble3D val="0"/>
            <c:spPr>
              <a:solidFill>
                <a:schemeClr val="folHlink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F2DF-4317-B201-D3895A876AD4}"/>
              </c:ext>
            </c:extLst>
          </c:dPt>
          <c:val>
            <c:numRef>
              <c:f>Sheet1!$A$1:$A$8</c:f>
              <c:numCache>
                <c:formatCode>General</c:formatCode>
                <c:ptCount val="8"/>
                <c:pt idx="0">
                  <c:v>12.5</c:v>
                </c:pt>
                <c:pt idx="1">
                  <c:v>12.5</c:v>
                </c:pt>
                <c:pt idx="2">
                  <c:v>12.5</c:v>
                </c:pt>
                <c:pt idx="3">
                  <c:v>12.5</c:v>
                </c:pt>
                <c:pt idx="4">
                  <c:v>12.5</c:v>
                </c:pt>
                <c:pt idx="5">
                  <c:v>12.5</c:v>
                </c:pt>
                <c:pt idx="6">
                  <c:v>12.5</c:v>
                </c:pt>
                <c:pt idx="7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2DF-4317-B201-D3895A876A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0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064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>
      <cs:styleClr val="0"/>
    </cs:lnRef>
    <cs:fillRef idx="0"/>
    <cs:effectRef idx="0"/>
    <cs:fontRef idx="minor">
      <cs:styleClr val="0"/>
    </cs:fontRef>
    <cs:defRPr sz="1197" b="1" kern="1200"/>
  </cs:dataLabel>
  <cs:dataLabelCallout>
    <cs:lnRef idx="0">
      <cs:styleClr val="0"/>
    </cs:lnRef>
    <cs:fillRef idx="0"/>
    <cs:effectRef idx="0"/>
    <cs:fontRef idx="minor">
      <cs:styleClr val="0"/>
    </cs:fontRef>
    <cs:spPr>
      <a:solidFill>
        <a:schemeClr val="lt1"/>
      </a:solidFill>
      <a:ln>
        <a:solidFill>
          <a:schemeClr val="phClr"/>
        </a:solidFill>
      </a:ln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0"/>
    </cs:lnRef>
    <cs:fillRef idx="0"/>
    <cs:effectRef idx="0"/>
    <cs:fontRef idx="minor">
      <a:schemeClr val="dk1"/>
    </cs:fontRef>
    <cs:spPr>
      <a:solidFill>
        <a:schemeClr val="lt1"/>
      </a:solidFill>
      <a:ln w="19050"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0160E83D-5241-704F-8063-066CAB668C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8A894F8B-AF75-0043-A4B6-7AF7861568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3535FE-07CD-4847-B165-7A0013DF9B2B}" type="datetimeFigureOut">
              <a:rPr lang="it-IT" smtClean="0"/>
              <a:t>18/09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E00FFAB-84CD-1A41-8D77-8B3B99E2CF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8B504B3-7B4D-4748-BCF3-4A42347510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E6D869-6CD7-A740-98CF-9CBEF3382E2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73879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68FE86-DC70-B640-AB24-ABAA63982291}" type="datetimeFigureOut">
              <a:rPr lang="it-IT" smtClean="0"/>
              <a:t>18/09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62284A-C1F0-A444-9B64-628B841434D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2527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8445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5515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07007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47830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523426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4135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357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0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3013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0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5753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842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302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0884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2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73505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2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98511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406074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6227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egnaposto immagine diapositiva 1">
            <a:extLst>
              <a:ext uri="{FF2B5EF4-FFF2-40B4-BE49-F238E27FC236}">
                <a16:creationId xmlns:a16="http://schemas.microsoft.com/office/drawing/2014/main" id="{D3CBF931-8607-4346-A235-411D0C7089A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Segnaposto note 2">
            <a:extLst>
              <a:ext uri="{FF2B5EF4-FFF2-40B4-BE49-F238E27FC236}">
                <a16:creationId xmlns:a16="http://schemas.microsoft.com/office/drawing/2014/main" id="{456AAB10-521D-4369-8AA4-9F65521914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03854" y="3652662"/>
            <a:ext cx="8459142" cy="24622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1268" name="Segnaposto numero diapositiva 3">
            <a:extLst>
              <a:ext uri="{FF2B5EF4-FFF2-40B4-BE49-F238E27FC236}">
                <a16:creationId xmlns:a16="http://schemas.microsoft.com/office/drawing/2014/main" id="{E4752AED-A7D9-4C06-A461-AB73B61429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16798" indent="-27569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02766" indent="-22055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43873" indent="-22055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984980" indent="-22055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426086" indent="-220553" defTabSz="4411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867193" indent="-220553" defTabSz="4411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308299" indent="-220553" defTabSz="4411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749406" indent="-220553" defTabSz="4411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1ACCC7C2-11BE-4D5A-8223-CDC61AA6F260}" type="slidenum">
              <a:rPr lang="it-IT" altLang="it-IT" smtClean="0"/>
              <a:pPr/>
              <a:t>30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135570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6285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0356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1EB99B-6A0D-4959-8B6C-F148BAB553C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51120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7672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>
            <a:extLst>
              <a:ext uri="{FF2B5EF4-FFF2-40B4-BE49-F238E27FC236}">
                <a16:creationId xmlns:a16="http://schemas.microsoft.com/office/drawing/2014/main" id="{D72054B5-710F-4D9B-B568-839D461AF12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>
            <a:solidFill>
              <a:srgbClr val="000000"/>
            </a:solidFill>
          </a:ln>
        </p:spPr>
      </p:sp>
      <p:sp>
        <p:nvSpPr>
          <p:cNvPr id="13315" name="Notes Placeholder 2">
            <a:extLst>
              <a:ext uri="{FF2B5EF4-FFF2-40B4-BE49-F238E27FC236}">
                <a16:creationId xmlns:a16="http://schemas.microsoft.com/office/drawing/2014/main" id="{E2A9F926-627C-45B3-8767-D7FD5A8958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28794" y="3814743"/>
            <a:ext cx="8721588" cy="24622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it-IT"/>
          </a:p>
        </p:txBody>
      </p:sp>
      <p:sp>
        <p:nvSpPr>
          <p:cNvPr id="13316" name="Slide Number Placeholder 3">
            <a:extLst>
              <a:ext uri="{FF2B5EF4-FFF2-40B4-BE49-F238E27FC236}">
                <a16:creationId xmlns:a16="http://schemas.microsoft.com/office/drawing/2014/main" id="{4F382326-FE31-4506-B2AE-2D0D9566472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03075" indent="-307984"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38558" indent="-243407"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38617" indent="-243407"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33709" indent="-243407"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10586" indent="-243407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187466" indent="-243407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64342" indent="-243407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41221" indent="-243407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1CB041-2B11-431B-8562-7B3B40504691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630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62284A-C1F0-A444-9B64-628B841434D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7702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86227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99483" y="3652662"/>
            <a:ext cx="8413147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5039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99483" y="3652662"/>
            <a:ext cx="8413147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69937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0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6088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immagine diapositiva 1">
            <a:extLst>
              <a:ext uri="{FF2B5EF4-FFF2-40B4-BE49-F238E27FC236}">
                <a16:creationId xmlns:a16="http://schemas.microsoft.com/office/drawing/2014/main" id="{B978A34E-E286-41FF-90C3-154B48BA9E0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Segnaposto note 2">
            <a:extLst>
              <a:ext uri="{FF2B5EF4-FFF2-40B4-BE49-F238E27FC236}">
                <a16:creationId xmlns:a16="http://schemas.microsoft.com/office/drawing/2014/main" id="{8283C8CB-819D-4F0C-A7E8-51B260E49CC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1748" name="Segnaposto numero diapositiva 3">
            <a:extLst>
              <a:ext uri="{FF2B5EF4-FFF2-40B4-BE49-F238E27FC236}">
                <a16:creationId xmlns:a16="http://schemas.microsoft.com/office/drawing/2014/main" id="{FD478EFA-FEB3-46D9-8A7A-543BF780D9E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C3E110-A06E-428B-AEE7-FF26F38F547F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5727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79771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63982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/>
              <a:t>06/07/23 Adam</a:t>
            </a:r>
          </a:p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6965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4"/>
            <a:ext cx="8721588" cy="24622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/>
              <a:t>06/07/23 Adam</a:t>
            </a:r>
          </a:p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830F7C-B921-4F1B-9E53-204B48FA35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8729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/>
              <a:t>06/07/23 Adam</a:t>
            </a:r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4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34642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499993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58308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5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464650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immagine diapositiva 1">
            <a:extLst>
              <a:ext uri="{FF2B5EF4-FFF2-40B4-BE49-F238E27FC236}">
                <a16:creationId xmlns:a16="http://schemas.microsoft.com/office/drawing/2014/main" id="{1EA177A6-7E5A-BE4C-AF8C-4488569F8BD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Segnaposto note 2">
            <a:extLst>
              <a:ext uri="{FF2B5EF4-FFF2-40B4-BE49-F238E27FC236}">
                <a16:creationId xmlns:a16="http://schemas.microsoft.com/office/drawing/2014/main" id="{FA08FD91-D9CB-BD47-8727-5C00F56FD35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7172" name="Segnaposto numero diapositiva 3">
            <a:extLst>
              <a:ext uri="{FF2B5EF4-FFF2-40B4-BE49-F238E27FC236}">
                <a16:creationId xmlns:a16="http://schemas.microsoft.com/office/drawing/2014/main" id="{B2B25EB2-6BB2-6142-B3B8-C471F2B8DF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17A73D9-6504-684A-993A-7CC3CFCC4415}" type="slidenum">
              <a:rPr kumimoji="0" lang="it-IT" alt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758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62284A-C1F0-A444-9B64-628B841434D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8773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62284A-C1F0-A444-9B64-628B841434D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510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>
              <a:highlight>
                <a:srgbClr val="FFFF00"/>
              </a:highlight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62284A-C1F0-A444-9B64-628B841434D7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4187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8794" y="3814740"/>
            <a:ext cx="8721588" cy="246221"/>
          </a:xfrm>
        </p:spPr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131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egnaposto immagine diapositiva 1">
            <a:extLst>
              <a:ext uri="{FF2B5EF4-FFF2-40B4-BE49-F238E27FC236}">
                <a16:creationId xmlns:a16="http://schemas.microsoft.com/office/drawing/2014/main" id="{F08D914B-D7F2-BC4F-BCAD-6D9E9A66962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egnaposto note 2">
            <a:extLst>
              <a:ext uri="{FF2B5EF4-FFF2-40B4-BE49-F238E27FC236}">
                <a16:creationId xmlns:a16="http://schemas.microsoft.com/office/drawing/2014/main" id="{161EF903-B037-7D45-B2DA-EAD38470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8436" name="Segnaposto numero diapositiva 3">
            <a:extLst>
              <a:ext uri="{FF2B5EF4-FFF2-40B4-BE49-F238E27FC236}">
                <a16:creationId xmlns:a16="http://schemas.microsoft.com/office/drawing/2014/main" id="{745B465D-5651-A94A-B519-1BF89E9A1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0C710D-FCE6-AC4B-B5AF-6C39E738B92B}" type="slidenum">
              <a: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alt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056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398614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0046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40C28897-2836-413B-BDE8-A6C71030C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984" y="374653"/>
            <a:ext cx="10363200" cy="55393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3958998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40C28897-2836-413B-BDE8-A6C71030C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984" y="374653"/>
            <a:ext cx="10363200" cy="55393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258132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72878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40C28897-2836-413B-BDE8-A6C71030C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984" y="374653"/>
            <a:ext cx="10363200" cy="55393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27220667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40C28897-2836-413B-BDE8-A6C71030C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984" y="374653"/>
            <a:ext cx="10363200" cy="55393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3687470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m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991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007412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6505C3D3-D7D8-9F44-AF4D-0B086FAB69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3554" y="3548957"/>
            <a:ext cx="7607753" cy="147795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9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pic>
        <p:nvPicPr>
          <p:cNvPr id="4" name="Immagine 4" descr="INTESA_SANPAOLO white.png">
            <a:extLst>
              <a:ext uri="{FF2B5EF4-FFF2-40B4-BE49-F238E27FC236}">
                <a16:creationId xmlns:a16="http://schemas.microsoft.com/office/drawing/2014/main" id="{E8BF49ED-3404-6343-B7C3-C259BD70B7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59" y="2465932"/>
            <a:ext cx="4273488" cy="624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76110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nu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038A2BD1-43FD-BF4E-834D-1E917FB95B1E}"/>
              </a:ext>
            </a:extLst>
          </p:cNvPr>
          <p:cNvSpPr/>
          <p:nvPr userDrawn="1"/>
        </p:nvSpPr>
        <p:spPr>
          <a:xfrm>
            <a:off x="0" y="6233594"/>
            <a:ext cx="12192000" cy="624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235381FE-B9AC-C144-9F25-FC8550DC24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9024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nter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4" descr="INTESA_SANPAOLO white.png">
            <a:extLst>
              <a:ext uri="{FF2B5EF4-FFF2-40B4-BE49-F238E27FC236}">
                <a16:creationId xmlns:a16="http://schemas.microsoft.com/office/drawing/2014/main" id="{99723C6A-2C53-DB45-8211-6E5D6DE16F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410" y="2463097"/>
            <a:ext cx="4360354" cy="637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olo 1">
            <a:extLst>
              <a:ext uri="{FF2B5EF4-FFF2-40B4-BE49-F238E27FC236}">
                <a16:creationId xmlns:a16="http://schemas.microsoft.com/office/drawing/2014/main" id="{6505C3D3-D7D8-9F44-AF4D-0B086FAB69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3555" y="3548957"/>
            <a:ext cx="7490658" cy="147795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9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Figura a mano libera 5">
            <a:extLst>
              <a:ext uri="{FF2B5EF4-FFF2-40B4-BE49-F238E27FC236}">
                <a16:creationId xmlns:a16="http://schemas.microsoft.com/office/drawing/2014/main" id="{AF95A084-D1F8-8140-BE29-3EA474695DFD}"/>
              </a:ext>
            </a:extLst>
          </p:cNvPr>
          <p:cNvSpPr/>
          <p:nvPr userDrawn="1"/>
        </p:nvSpPr>
        <p:spPr>
          <a:xfrm rot="20686196">
            <a:off x="-2068" y="-824926"/>
            <a:ext cx="6275973" cy="1678031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213009 w 9805231"/>
              <a:gd name="connsiteY0" fmla="*/ 0 h 1920782"/>
              <a:gd name="connsiteX1" fmla="*/ 9232007 w 9805231"/>
              <a:gd name="connsiteY1" fmla="*/ 1801249 h 1920782"/>
              <a:gd name="connsiteX2" fmla="*/ 9805231 w 9805231"/>
              <a:gd name="connsiteY2" fmla="*/ 1920782 h 1920782"/>
              <a:gd name="connsiteX3" fmla="*/ 1 w 9805231"/>
              <a:gd name="connsiteY3" fmla="*/ 1720658 h 1920782"/>
              <a:gd name="connsiteX4" fmla="*/ 213009 w 9805231"/>
              <a:gd name="connsiteY4" fmla="*/ 0 h 1920782"/>
              <a:gd name="connsiteX0" fmla="*/ 183037 w 9775259"/>
              <a:gd name="connsiteY0" fmla="*/ 0 h 1920782"/>
              <a:gd name="connsiteX1" fmla="*/ 9202035 w 9775259"/>
              <a:gd name="connsiteY1" fmla="*/ 1801249 h 1920782"/>
              <a:gd name="connsiteX2" fmla="*/ 9775259 w 9775259"/>
              <a:gd name="connsiteY2" fmla="*/ 1920782 h 1920782"/>
              <a:gd name="connsiteX3" fmla="*/ 0 w 9775259"/>
              <a:gd name="connsiteY3" fmla="*/ 1500030 h 1920782"/>
              <a:gd name="connsiteX4" fmla="*/ 183037 w 9775259"/>
              <a:gd name="connsiteY4" fmla="*/ 0 h 1920782"/>
              <a:gd name="connsiteX0" fmla="*/ 126790 w 9719012"/>
              <a:gd name="connsiteY0" fmla="*/ 0 h 1920782"/>
              <a:gd name="connsiteX1" fmla="*/ 9145788 w 9719012"/>
              <a:gd name="connsiteY1" fmla="*/ 1801249 h 1920782"/>
              <a:gd name="connsiteX2" fmla="*/ 9719012 w 9719012"/>
              <a:gd name="connsiteY2" fmla="*/ 1920782 h 1920782"/>
              <a:gd name="connsiteX3" fmla="*/ 0 w 9719012"/>
              <a:gd name="connsiteY3" fmla="*/ 1384324 h 1920782"/>
              <a:gd name="connsiteX4" fmla="*/ 126790 w 9719012"/>
              <a:gd name="connsiteY4" fmla="*/ 0 h 1920782"/>
              <a:gd name="connsiteX0" fmla="*/ 114801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1 w 9719012"/>
              <a:gd name="connsiteY4" fmla="*/ 0 h 1918151"/>
              <a:gd name="connsiteX0" fmla="*/ 114800 w 9719012"/>
              <a:gd name="connsiteY0" fmla="*/ 0 h 1918151"/>
              <a:gd name="connsiteX1" fmla="*/ 9145788 w 9719012"/>
              <a:gd name="connsiteY1" fmla="*/ 1798618 h 1918151"/>
              <a:gd name="connsiteX2" fmla="*/ 9719012 w 9719012"/>
              <a:gd name="connsiteY2" fmla="*/ 1918151 h 1918151"/>
              <a:gd name="connsiteX3" fmla="*/ 0 w 9719012"/>
              <a:gd name="connsiteY3" fmla="*/ 1381693 h 1918151"/>
              <a:gd name="connsiteX4" fmla="*/ 114800 w 9719012"/>
              <a:gd name="connsiteY4" fmla="*/ 0 h 1918151"/>
              <a:gd name="connsiteX0" fmla="*/ 193030 w 9719012"/>
              <a:gd name="connsiteY0" fmla="*/ 0 h 1902527"/>
              <a:gd name="connsiteX1" fmla="*/ 9145788 w 9719012"/>
              <a:gd name="connsiteY1" fmla="*/ 1782994 h 1902527"/>
              <a:gd name="connsiteX2" fmla="*/ 9719012 w 9719012"/>
              <a:gd name="connsiteY2" fmla="*/ 1902527 h 1902527"/>
              <a:gd name="connsiteX3" fmla="*/ 0 w 9719012"/>
              <a:gd name="connsiteY3" fmla="*/ 1366069 h 1902527"/>
              <a:gd name="connsiteX4" fmla="*/ 193030 w 9719012"/>
              <a:gd name="connsiteY4" fmla="*/ 0 h 1902527"/>
              <a:gd name="connsiteX0" fmla="*/ 193030 w 10621430"/>
              <a:gd name="connsiteY0" fmla="*/ 0 h 2082758"/>
              <a:gd name="connsiteX1" fmla="*/ 9145788 w 10621430"/>
              <a:gd name="connsiteY1" fmla="*/ 1782994 h 2082758"/>
              <a:gd name="connsiteX2" fmla="*/ 10621430 w 10621430"/>
              <a:gd name="connsiteY2" fmla="*/ 2082759 h 2082758"/>
              <a:gd name="connsiteX3" fmla="*/ 0 w 10621430"/>
              <a:gd name="connsiteY3" fmla="*/ 1366069 h 2082758"/>
              <a:gd name="connsiteX4" fmla="*/ 193030 w 10621430"/>
              <a:gd name="connsiteY4" fmla="*/ 0 h 2082758"/>
              <a:gd name="connsiteX0" fmla="*/ 193030 w 10621432"/>
              <a:gd name="connsiteY0" fmla="*/ 0 h 2082759"/>
              <a:gd name="connsiteX1" fmla="*/ 10621431 w 10621432"/>
              <a:gd name="connsiteY1" fmla="*/ 2082758 h 2082759"/>
              <a:gd name="connsiteX2" fmla="*/ 10621430 w 10621432"/>
              <a:gd name="connsiteY2" fmla="*/ 2082759 h 2082759"/>
              <a:gd name="connsiteX3" fmla="*/ 0 w 10621432"/>
              <a:gd name="connsiteY3" fmla="*/ 1366069 h 2082759"/>
              <a:gd name="connsiteX4" fmla="*/ 193030 w 10621432"/>
              <a:gd name="connsiteY4" fmla="*/ 0 h 2082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21432" h="2082759">
                <a:moveTo>
                  <a:pt x="193030" y="0"/>
                </a:moveTo>
                <a:lnTo>
                  <a:pt x="10621431" y="2082758"/>
                </a:lnTo>
                <a:lnTo>
                  <a:pt x="10621430" y="2082759"/>
                </a:lnTo>
                <a:lnTo>
                  <a:pt x="0" y="1366069"/>
                </a:lnTo>
                <a:lnTo>
                  <a:pt x="193030" y="0"/>
                </a:lnTo>
                <a:close/>
              </a:path>
            </a:pathLst>
          </a:custGeom>
          <a:solidFill>
            <a:srgbClr val="003A79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1901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176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45445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53" b="1">
                <a:solidFill>
                  <a:srgbClr val="003A79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8860367" cy="292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59195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67C3D44-808A-7DBD-A9AA-B4AC57A6BB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AABF2D05-D7FB-E1E0-4166-B5C836BE8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717197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vmlDrawing" Target="../drawings/vmlDrawing2.vml"/><Relationship Id="rId21" Type="http://schemas.openxmlformats.org/officeDocument/2006/relationships/oleObject" Target="../embeddings/oleObject2.bin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theme" Target="../theme/theme4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3.png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image" Target="../media/image2.png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theme" Target="../theme/theme5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image" Target="../media/image2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image" Target="../media/image1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vmlDrawing" Target="../drawings/vmlDrawing3.v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vmlDrawing" Target="../drawings/vmlDrawing4.vml"/><Relationship Id="rId21" Type="http://schemas.openxmlformats.org/officeDocument/2006/relationships/oleObject" Target="../embeddings/oleObject4.bin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" Type="http://schemas.openxmlformats.org/officeDocument/2006/relationships/theme" Target="../theme/theme6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image" Target="../media/image3.png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image" Target="../media/image2.png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" Type="http://schemas.openxmlformats.org/officeDocument/2006/relationships/theme" Target="../theme/theme7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image" Target="../media/image2.png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image" Target="../media/image1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vmlDrawing" Target="../drawings/vmlDrawing5.v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299737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608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161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txStyles>
    <p:titleStyle>
      <a:lvl1pPr algn="l" defTabSz="932962" rtl="0" eaLnBrk="1" latinLnBrk="0" hangingPunct="1">
        <a:lnSpc>
          <a:spcPct val="90000"/>
        </a:lnSpc>
        <a:spcBef>
          <a:spcPct val="0"/>
        </a:spcBef>
        <a:buNone/>
        <a:defRPr sz="44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241" indent="-233241" algn="l" defTabSz="932962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7" kern="1200">
          <a:solidFill>
            <a:schemeClr val="tx1"/>
          </a:solidFill>
          <a:latin typeface="+mn-lt"/>
          <a:ea typeface="+mn-ea"/>
          <a:cs typeface="+mn-cs"/>
        </a:defRPr>
      </a:lvl1pPr>
      <a:lvl2pPr marL="699722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3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3pPr>
      <a:lvl4pPr marL="1632684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2099165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565646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3032128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498609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965090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193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87" r:id="rId3"/>
    <p:sldLayoutId id="214748369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6299737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19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299737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581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6299737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122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A2D74A-21AA-4066-B66E-0007832EB93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2012"/>
            <a:ext cx="57736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it-IT" sz="1020" cap="all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1632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28294"/>
            <a:ext cx="824822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88454"/>
            <a:ext cx="560464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it-IT" sz="816" baseline="0">
                <a:solidFill>
                  <a:schemeClr val="accent6"/>
                </a:solidFill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rPr>
              <a:t>FONTE: Fo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it-IT" sz="1632" b="1" baseline="0">
                  <a:solidFill>
                    <a:schemeClr val="tx2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Titolo</a:t>
              </a:r>
            </a:p>
            <a:p>
              <a:r>
                <a:rPr lang="it-IT" sz="1632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1761" y="579085"/>
            <a:ext cx="620345" cy="220474"/>
            <a:chOff x="8284805" y="285750"/>
            <a:chExt cx="455970" cy="21608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4805" y="285750"/>
              <a:ext cx="4559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it-IT" sz="1224" baseline="0">
                  <a:solidFill>
                    <a:schemeClr val="accent6"/>
                  </a:solidFill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48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4805" y="501835"/>
              <a:ext cx="4559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 userDrawn="1"/>
        </p:nvGrpSpPr>
        <p:grpSpPr bwMode="gray">
          <a:xfrm>
            <a:off x="10797028" y="285075"/>
            <a:ext cx="861625" cy="1021522"/>
            <a:chOff x="7835905" y="279400"/>
            <a:chExt cx="832138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78138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561096" cy="813454"/>
            <a:chOff x="7540629" y="279400"/>
            <a:chExt cx="1147446" cy="797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 sz="2176" baseline="0">
                <a:latin typeface="Century Gothic" panose="020B0502020202020204" pitchFamily="34" charset="0"/>
                <a:ea typeface="+mn-ea"/>
                <a:sym typeface="Century Gothic" panose="020B0502020202020204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0005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8102604" y="825501"/>
              <a:ext cx="585471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632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768445" y="255920"/>
            <a:ext cx="952294" cy="1336855"/>
            <a:chOff x="7769225" y="250825"/>
            <a:chExt cx="834113" cy="1310242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it-IT" sz="2176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79004" y="27571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79004" y="550355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79004" y="824994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79004" y="1096457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79004" y="1372682"/>
              <a:ext cx="52433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it-IT" sz="1224" baseline="0">
                  <a:latin typeface="Century Gothic" panose="020B0502020202020204" pitchFamily="34" charset="0"/>
                  <a:ea typeface="+mn-ea"/>
                  <a:sym typeface="Century Gothic" panose="020B0502020202020204" pitchFamily="34" charset="0"/>
                </a:rPr>
                <a:t>Legend</a:t>
              </a:r>
            </a:p>
          </p:txBody>
        </p:sp>
      </p:grpSp>
      <p:pic>
        <p:nvPicPr>
          <p:cNvPr id="67" name="Immagine 4" descr="Logo Private Banking_W.png" hidden="1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8031" y="6371267"/>
            <a:ext cx="2100841" cy="236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BA4C5377-FF92-4D2E-84EB-E7D083F12C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2400" y="6361915"/>
            <a:ext cx="2408889" cy="34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30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245" b="1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  <a:sym typeface="Century Gothic" panose="020B0502020202020204" pitchFamily="34" charset="0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  <a:sym typeface="Century Gothic" panose="020B0502020202020204" pitchFamily="34" charset="0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entury Gothic" panose="020B0502020202020204" pitchFamily="34" charset="0"/>
          <a:sym typeface="Century Gothic" panose="020B0502020202020204" pitchFamily="34" charset="0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88.xml"/><Relationship Id="rId7" Type="http://schemas.openxmlformats.org/officeDocument/2006/relationships/image" Target="../media/image30.jpe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90.xml"/><Relationship Id="rId7" Type="http://schemas.openxmlformats.org/officeDocument/2006/relationships/oleObject" Target="../embeddings/oleObject6.bin"/><Relationship Id="rId2" Type="http://schemas.openxmlformats.org/officeDocument/2006/relationships/tags" Target="../tags/tag8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4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tags" Target="../tags/tag92.xml"/><Relationship Id="rId16" Type="http://schemas.openxmlformats.org/officeDocument/2006/relationships/image" Target="../media/image46.png"/><Relationship Id="rId1" Type="http://schemas.openxmlformats.org/officeDocument/2006/relationships/tags" Target="../tags/tag91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4.xml"/><Relationship Id="rId7" Type="http://schemas.openxmlformats.org/officeDocument/2006/relationships/slide" Target="slide4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slide" Target="slide19.xml"/><Relationship Id="rId5" Type="http://schemas.openxmlformats.org/officeDocument/2006/relationships/slide" Target="slide14.xml"/><Relationship Id="rId4" Type="http://schemas.openxmlformats.org/officeDocument/2006/relationships/slide" Target="slide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94.xml"/><Relationship Id="rId7" Type="http://schemas.openxmlformats.org/officeDocument/2006/relationships/image" Target="../media/image5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emf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13" Type="http://schemas.openxmlformats.org/officeDocument/2006/relationships/image" Target="../media/image63.png"/><Relationship Id="rId3" Type="http://schemas.openxmlformats.org/officeDocument/2006/relationships/tags" Target="../tags/tag96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" Type="http://schemas.openxmlformats.org/officeDocument/2006/relationships/tags" Target="../tags/tag95.xml"/><Relationship Id="rId16" Type="http://schemas.openxmlformats.org/officeDocument/2006/relationships/image" Target="../media/image66.png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61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4" Type="http://schemas.openxmlformats.org/officeDocument/2006/relationships/tags" Target="../tags/tag97.xml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26" Type="http://schemas.openxmlformats.org/officeDocument/2006/relationships/image" Target="../media/image85.png"/><Relationship Id="rId39" Type="http://schemas.openxmlformats.org/officeDocument/2006/relationships/image" Target="../media/image98.svg"/><Relationship Id="rId21" Type="http://schemas.openxmlformats.org/officeDocument/2006/relationships/image" Target="../media/image80.png"/><Relationship Id="rId34" Type="http://schemas.openxmlformats.org/officeDocument/2006/relationships/image" Target="../media/image93.png"/><Relationship Id="rId42" Type="http://schemas.openxmlformats.org/officeDocument/2006/relationships/image" Target="../media/image101.png"/><Relationship Id="rId7" Type="http://schemas.openxmlformats.org/officeDocument/2006/relationships/oleObject" Target="../embeddings/oleObject9.bin"/><Relationship Id="rId2" Type="http://schemas.openxmlformats.org/officeDocument/2006/relationships/tags" Target="../tags/tag98.xml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29" Type="http://schemas.openxmlformats.org/officeDocument/2006/relationships/image" Target="../media/image88.emf"/><Relationship Id="rId41" Type="http://schemas.openxmlformats.org/officeDocument/2006/relationships/image" Target="../media/image100.png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70.png"/><Relationship Id="rId24" Type="http://schemas.openxmlformats.org/officeDocument/2006/relationships/image" Target="../media/image83.jpeg"/><Relationship Id="rId32" Type="http://schemas.openxmlformats.org/officeDocument/2006/relationships/image" Target="../media/image91.jpeg"/><Relationship Id="rId37" Type="http://schemas.openxmlformats.org/officeDocument/2006/relationships/image" Target="../media/image96.png"/><Relationship Id="rId40" Type="http://schemas.openxmlformats.org/officeDocument/2006/relationships/image" Target="../media/image99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74.jpeg"/><Relationship Id="rId23" Type="http://schemas.openxmlformats.org/officeDocument/2006/relationships/image" Target="../media/image82.png"/><Relationship Id="rId28" Type="http://schemas.openxmlformats.org/officeDocument/2006/relationships/image" Target="../media/image87.png"/><Relationship Id="rId36" Type="http://schemas.openxmlformats.org/officeDocument/2006/relationships/image" Target="../media/image95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31" Type="http://schemas.openxmlformats.org/officeDocument/2006/relationships/image" Target="../media/image90.png"/><Relationship Id="rId4" Type="http://schemas.openxmlformats.org/officeDocument/2006/relationships/tags" Target="../tags/tag100.xml"/><Relationship Id="rId9" Type="http://schemas.openxmlformats.org/officeDocument/2006/relationships/image" Target="../media/image68.png"/><Relationship Id="rId14" Type="http://schemas.openxmlformats.org/officeDocument/2006/relationships/image" Target="../media/image73.png"/><Relationship Id="rId22" Type="http://schemas.openxmlformats.org/officeDocument/2006/relationships/image" Target="../media/image81.png"/><Relationship Id="rId27" Type="http://schemas.openxmlformats.org/officeDocument/2006/relationships/image" Target="../media/image86.png"/><Relationship Id="rId30" Type="http://schemas.openxmlformats.org/officeDocument/2006/relationships/image" Target="../media/image89.jpeg"/><Relationship Id="rId35" Type="http://schemas.openxmlformats.org/officeDocument/2006/relationships/image" Target="../media/image94.png"/><Relationship Id="rId8" Type="http://schemas.openxmlformats.org/officeDocument/2006/relationships/image" Target="../media/image33.emf"/><Relationship Id="rId3" Type="http://schemas.openxmlformats.org/officeDocument/2006/relationships/tags" Target="../tags/tag99.xml"/><Relationship Id="rId12" Type="http://schemas.openxmlformats.org/officeDocument/2006/relationships/image" Target="../media/image71.jpeg"/><Relationship Id="rId17" Type="http://schemas.openxmlformats.org/officeDocument/2006/relationships/image" Target="../media/image76.png"/><Relationship Id="rId25" Type="http://schemas.openxmlformats.org/officeDocument/2006/relationships/image" Target="../media/image84.png"/><Relationship Id="rId33" Type="http://schemas.openxmlformats.org/officeDocument/2006/relationships/image" Target="../media/image92.png"/><Relationship Id="rId38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2.png"/><Relationship Id="rId18" Type="http://schemas.openxmlformats.org/officeDocument/2006/relationships/image" Target="../media/image117.png"/><Relationship Id="rId26" Type="http://schemas.openxmlformats.org/officeDocument/2006/relationships/image" Target="../media/image125.png"/><Relationship Id="rId39" Type="http://schemas.openxmlformats.org/officeDocument/2006/relationships/image" Target="../media/image138.png"/><Relationship Id="rId21" Type="http://schemas.openxmlformats.org/officeDocument/2006/relationships/image" Target="../media/image120.jpeg"/><Relationship Id="rId34" Type="http://schemas.openxmlformats.org/officeDocument/2006/relationships/image" Target="../media/image133.jpeg"/><Relationship Id="rId42" Type="http://schemas.openxmlformats.org/officeDocument/2006/relationships/image" Target="../media/image141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5.png"/><Relationship Id="rId29" Type="http://schemas.openxmlformats.org/officeDocument/2006/relationships/image" Target="../media/image1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24" Type="http://schemas.openxmlformats.org/officeDocument/2006/relationships/image" Target="../media/image123.jpeg"/><Relationship Id="rId32" Type="http://schemas.openxmlformats.org/officeDocument/2006/relationships/image" Target="../media/image131.png"/><Relationship Id="rId37" Type="http://schemas.openxmlformats.org/officeDocument/2006/relationships/image" Target="../media/image136.png"/><Relationship Id="rId40" Type="http://schemas.openxmlformats.org/officeDocument/2006/relationships/image" Target="../media/image139.jpeg"/><Relationship Id="rId45" Type="http://schemas.openxmlformats.org/officeDocument/2006/relationships/image" Target="../media/image144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23" Type="http://schemas.openxmlformats.org/officeDocument/2006/relationships/image" Target="../media/image122.png"/><Relationship Id="rId28" Type="http://schemas.openxmlformats.org/officeDocument/2006/relationships/image" Target="../media/image127.png"/><Relationship Id="rId36" Type="http://schemas.openxmlformats.org/officeDocument/2006/relationships/image" Target="../media/image135.jpeg"/><Relationship Id="rId10" Type="http://schemas.openxmlformats.org/officeDocument/2006/relationships/image" Target="../media/image109.png"/><Relationship Id="rId19" Type="http://schemas.openxmlformats.org/officeDocument/2006/relationships/image" Target="../media/image118.png"/><Relationship Id="rId31" Type="http://schemas.openxmlformats.org/officeDocument/2006/relationships/image" Target="../media/image130.png"/><Relationship Id="rId44" Type="http://schemas.openxmlformats.org/officeDocument/2006/relationships/image" Target="../media/image143.png"/><Relationship Id="rId4" Type="http://schemas.openxmlformats.org/officeDocument/2006/relationships/image" Target="../media/image103.jpeg"/><Relationship Id="rId9" Type="http://schemas.openxmlformats.org/officeDocument/2006/relationships/image" Target="../media/image108.jpeg"/><Relationship Id="rId14" Type="http://schemas.openxmlformats.org/officeDocument/2006/relationships/image" Target="../media/image113.png"/><Relationship Id="rId22" Type="http://schemas.openxmlformats.org/officeDocument/2006/relationships/image" Target="../media/image121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Relationship Id="rId35" Type="http://schemas.openxmlformats.org/officeDocument/2006/relationships/image" Target="../media/image134.png"/><Relationship Id="rId43" Type="http://schemas.openxmlformats.org/officeDocument/2006/relationships/image" Target="../media/image142.jpeg"/><Relationship Id="rId8" Type="http://schemas.openxmlformats.org/officeDocument/2006/relationships/image" Target="../media/image107.jpeg"/><Relationship Id="rId3" Type="http://schemas.openxmlformats.org/officeDocument/2006/relationships/image" Target="../media/image102.jpeg"/><Relationship Id="rId12" Type="http://schemas.openxmlformats.org/officeDocument/2006/relationships/image" Target="../media/image111.png"/><Relationship Id="rId17" Type="http://schemas.openxmlformats.org/officeDocument/2006/relationships/image" Target="../media/image116.jpeg"/><Relationship Id="rId25" Type="http://schemas.openxmlformats.org/officeDocument/2006/relationships/image" Target="../media/image124.png"/><Relationship Id="rId33" Type="http://schemas.openxmlformats.org/officeDocument/2006/relationships/image" Target="../media/image132.png"/><Relationship Id="rId38" Type="http://schemas.openxmlformats.org/officeDocument/2006/relationships/image" Target="../media/image137.png"/><Relationship Id="rId46" Type="http://schemas.openxmlformats.org/officeDocument/2006/relationships/image" Target="../media/image145.png"/><Relationship Id="rId20" Type="http://schemas.openxmlformats.org/officeDocument/2006/relationships/image" Target="../media/image119.png"/><Relationship Id="rId41" Type="http://schemas.openxmlformats.org/officeDocument/2006/relationships/image" Target="../media/image140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23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6.jpeg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image" Target="../media/image146.jpe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9.png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2.png"/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12" Type="http://schemas.openxmlformats.org/officeDocument/2006/relationships/image" Target="../media/image16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5.png"/><Relationship Id="rId11" Type="http://schemas.openxmlformats.org/officeDocument/2006/relationships/image" Target="../media/image160.png"/><Relationship Id="rId5" Type="http://schemas.openxmlformats.org/officeDocument/2006/relationships/image" Target="../media/image154.png"/><Relationship Id="rId10" Type="http://schemas.openxmlformats.org/officeDocument/2006/relationships/image" Target="../media/image159.png"/><Relationship Id="rId4" Type="http://schemas.openxmlformats.org/officeDocument/2006/relationships/image" Target="../media/image153.png"/><Relationship Id="rId9" Type="http://schemas.openxmlformats.org/officeDocument/2006/relationships/image" Target="../media/image158.png"/><Relationship Id="rId14" Type="http://schemas.openxmlformats.org/officeDocument/2006/relationships/image" Target="../media/image163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svg"/><Relationship Id="rId13" Type="http://schemas.openxmlformats.org/officeDocument/2006/relationships/image" Target="../media/image174.png"/><Relationship Id="rId18" Type="http://schemas.openxmlformats.org/officeDocument/2006/relationships/image" Target="../media/image179.svg"/><Relationship Id="rId3" Type="http://schemas.openxmlformats.org/officeDocument/2006/relationships/image" Target="../media/image164.png"/><Relationship Id="rId21" Type="http://schemas.openxmlformats.org/officeDocument/2006/relationships/image" Target="../media/image182.png"/><Relationship Id="rId7" Type="http://schemas.openxmlformats.org/officeDocument/2006/relationships/image" Target="../media/image168.png"/><Relationship Id="rId12" Type="http://schemas.openxmlformats.org/officeDocument/2006/relationships/image" Target="../media/image173.svg"/><Relationship Id="rId17" Type="http://schemas.openxmlformats.org/officeDocument/2006/relationships/image" Target="../media/image178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177.svg"/><Relationship Id="rId20" Type="http://schemas.openxmlformats.org/officeDocument/2006/relationships/image" Target="../media/image181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7.svg"/><Relationship Id="rId11" Type="http://schemas.openxmlformats.org/officeDocument/2006/relationships/image" Target="../media/image172.png"/><Relationship Id="rId5" Type="http://schemas.openxmlformats.org/officeDocument/2006/relationships/image" Target="../media/image166.png"/><Relationship Id="rId15" Type="http://schemas.openxmlformats.org/officeDocument/2006/relationships/image" Target="../media/image176.png"/><Relationship Id="rId10" Type="http://schemas.openxmlformats.org/officeDocument/2006/relationships/image" Target="../media/image171.svg"/><Relationship Id="rId19" Type="http://schemas.openxmlformats.org/officeDocument/2006/relationships/image" Target="../media/image180.png"/><Relationship Id="rId4" Type="http://schemas.openxmlformats.org/officeDocument/2006/relationships/image" Target="../media/image165.svg"/><Relationship Id="rId9" Type="http://schemas.openxmlformats.org/officeDocument/2006/relationships/image" Target="../media/image170.png"/><Relationship Id="rId14" Type="http://schemas.openxmlformats.org/officeDocument/2006/relationships/image" Target="../media/image175.svg"/><Relationship Id="rId22" Type="http://schemas.openxmlformats.org/officeDocument/2006/relationships/image" Target="../media/image18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13" Type="http://schemas.microsoft.com/office/2007/relationships/hdphoto" Target="../media/hdphoto2.wdp"/><Relationship Id="rId3" Type="http://schemas.openxmlformats.org/officeDocument/2006/relationships/tags" Target="../tags/tag104.xml"/><Relationship Id="rId7" Type="http://schemas.openxmlformats.org/officeDocument/2006/relationships/image" Target="../media/image52.emf"/><Relationship Id="rId12" Type="http://schemas.openxmlformats.org/officeDocument/2006/relationships/image" Target="../media/image185.png"/><Relationship Id="rId17" Type="http://schemas.microsoft.com/office/2007/relationships/hdphoto" Target="../media/hdphoto4.wdp"/><Relationship Id="rId2" Type="http://schemas.openxmlformats.org/officeDocument/2006/relationships/tags" Target="../tags/tag103.xml"/><Relationship Id="rId16" Type="http://schemas.openxmlformats.org/officeDocument/2006/relationships/image" Target="../media/image187.png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microsoft.com/office/2007/relationships/hdphoto" Target="../media/hdphoto1.wdp"/><Relationship Id="rId5" Type="http://schemas.openxmlformats.org/officeDocument/2006/relationships/notesSlide" Target="../notesSlides/notesSlide23.xml"/><Relationship Id="rId15" Type="http://schemas.microsoft.com/office/2007/relationships/hdphoto" Target="../media/hdphoto3.wdp"/><Relationship Id="rId10" Type="http://schemas.openxmlformats.org/officeDocument/2006/relationships/image" Target="../media/image18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83.png"/><Relationship Id="rId14" Type="http://schemas.openxmlformats.org/officeDocument/2006/relationships/image" Target="../media/image18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3.svg"/><Relationship Id="rId13" Type="http://schemas.openxmlformats.org/officeDocument/2006/relationships/image" Target="../media/image198.png"/><Relationship Id="rId3" Type="http://schemas.openxmlformats.org/officeDocument/2006/relationships/image" Target="../media/image188.png"/><Relationship Id="rId7" Type="http://schemas.openxmlformats.org/officeDocument/2006/relationships/image" Target="../media/image192.png"/><Relationship Id="rId12" Type="http://schemas.openxmlformats.org/officeDocument/2006/relationships/image" Target="../media/image197.pn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20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1.png"/><Relationship Id="rId11" Type="http://schemas.openxmlformats.org/officeDocument/2006/relationships/image" Target="../media/image196.png"/><Relationship Id="rId5" Type="http://schemas.openxmlformats.org/officeDocument/2006/relationships/image" Target="../media/image190.png"/><Relationship Id="rId15" Type="http://schemas.openxmlformats.org/officeDocument/2006/relationships/image" Target="../media/image200.png"/><Relationship Id="rId10" Type="http://schemas.openxmlformats.org/officeDocument/2006/relationships/image" Target="../media/image195.png"/><Relationship Id="rId4" Type="http://schemas.openxmlformats.org/officeDocument/2006/relationships/image" Target="../media/image189.png"/><Relationship Id="rId9" Type="http://schemas.openxmlformats.org/officeDocument/2006/relationships/image" Target="../media/image194.png"/><Relationship Id="rId14" Type="http://schemas.openxmlformats.org/officeDocument/2006/relationships/image" Target="../media/image19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52.emf"/><Relationship Id="rId18" Type="http://schemas.openxmlformats.org/officeDocument/2006/relationships/image" Target="../media/image205.png"/><Relationship Id="rId3" Type="http://schemas.openxmlformats.org/officeDocument/2006/relationships/tags" Target="../tags/tag106.xml"/><Relationship Id="rId21" Type="http://schemas.microsoft.com/office/2007/relationships/hdphoto" Target="../media/hdphoto7.wdp"/><Relationship Id="rId7" Type="http://schemas.openxmlformats.org/officeDocument/2006/relationships/tags" Target="../tags/tag110.xml"/><Relationship Id="rId12" Type="http://schemas.openxmlformats.org/officeDocument/2006/relationships/oleObject" Target="../embeddings/oleObject12.bin"/><Relationship Id="rId17" Type="http://schemas.microsoft.com/office/2007/relationships/hdphoto" Target="../media/hdphoto5.wdp"/><Relationship Id="rId2" Type="http://schemas.openxmlformats.org/officeDocument/2006/relationships/tags" Target="../tags/tag105.xml"/><Relationship Id="rId16" Type="http://schemas.openxmlformats.org/officeDocument/2006/relationships/image" Target="../media/image204.png"/><Relationship Id="rId20" Type="http://schemas.openxmlformats.org/officeDocument/2006/relationships/image" Target="../media/image206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09.xml"/><Relationship Id="rId11" Type="http://schemas.openxmlformats.org/officeDocument/2006/relationships/notesSlide" Target="../notesSlides/notesSlide25.xml"/><Relationship Id="rId24" Type="http://schemas.microsoft.com/office/2007/relationships/hdphoto" Target="../media/hdphoto8.wdp"/><Relationship Id="rId5" Type="http://schemas.openxmlformats.org/officeDocument/2006/relationships/tags" Target="../tags/tag108.xml"/><Relationship Id="rId15" Type="http://schemas.openxmlformats.org/officeDocument/2006/relationships/image" Target="../media/image203.jpeg"/><Relationship Id="rId23" Type="http://schemas.openxmlformats.org/officeDocument/2006/relationships/image" Target="../media/image207.png"/><Relationship Id="rId10" Type="http://schemas.openxmlformats.org/officeDocument/2006/relationships/slideLayout" Target="../slideLayouts/slideLayout1.xml"/><Relationship Id="rId19" Type="http://schemas.microsoft.com/office/2007/relationships/hdphoto" Target="../media/hdphoto6.wdp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image" Target="../media/image202.png"/><Relationship Id="rId22" Type="http://schemas.openxmlformats.org/officeDocument/2006/relationships/image" Target="../media/image1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114.xml"/><Relationship Id="rId21" Type="http://schemas.openxmlformats.org/officeDocument/2006/relationships/image" Target="../media/image209.png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notesSlide" Target="../notesSlides/notesSlide26.xml"/><Relationship Id="rId2" Type="http://schemas.openxmlformats.org/officeDocument/2006/relationships/tags" Target="../tags/tag113.xml"/><Relationship Id="rId16" Type="http://schemas.openxmlformats.org/officeDocument/2006/relationships/slideLayout" Target="../slideLayouts/slideLayout10.xml"/><Relationship Id="rId20" Type="http://schemas.openxmlformats.org/officeDocument/2006/relationships/image" Target="../media/image208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image" Target="../media/image212.png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image" Target="../media/image211.png"/><Relationship Id="rId10" Type="http://schemas.openxmlformats.org/officeDocument/2006/relationships/tags" Target="../tags/tag121.xml"/><Relationship Id="rId19" Type="http://schemas.openxmlformats.org/officeDocument/2006/relationships/image" Target="../media/image52.emf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image" Target="../media/image210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5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14.png"/><Relationship Id="rId5" Type="http://schemas.openxmlformats.org/officeDocument/2006/relationships/image" Target="../media/image213.png"/><Relationship Id="rId4" Type="http://schemas.openxmlformats.org/officeDocument/2006/relationships/notesSlide" Target="../notesSlides/notesSlide2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6.png"/><Relationship Id="rId3" Type="http://schemas.openxmlformats.org/officeDocument/2006/relationships/tags" Target="../tags/tag130.xml"/><Relationship Id="rId7" Type="http://schemas.openxmlformats.org/officeDocument/2006/relationships/image" Target="../media/image33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19.png"/><Relationship Id="rId5" Type="http://schemas.openxmlformats.org/officeDocument/2006/relationships/notesSlide" Target="../notesSlides/notesSlide29.xml"/><Relationship Id="rId10" Type="http://schemas.openxmlformats.org/officeDocument/2006/relationships/image" Target="../media/image218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1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3.png"/><Relationship Id="rId5" Type="http://schemas.openxmlformats.org/officeDocument/2006/relationships/image" Target="../media/image222.png"/><Relationship Id="rId4" Type="http://schemas.openxmlformats.org/officeDocument/2006/relationships/image" Target="../media/image22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7.png"/><Relationship Id="rId13" Type="http://schemas.openxmlformats.org/officeDocument/2006/relationships/image" Target="../media/image232.png"/><Relationship Id="rId3" Type="http://schemas.openxmlformats.org/officeDocument/2006/relationships/tags" Target="../tags/tag133.xml"/><Relationship Id="rId7" Type="http://schemas.openxmlformats.org/officeDocument/2006/relationships/image" Target="../media/image226.png"/><Relationship Id="rId12" Type="http://schemas.openxmlformats.org/officeDocument/2006/relationships/image" Target="../media/image231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25.png"/><Relationship Id="rId11" Type="http://schemas.openxmlformats.org/officeDocument/2006/relationships/image" Target="../media/image230.png"/><Relationship Id="rId5" Type="http://schemas.openxmlformats.org/officeDocument/2006/relationships/image" Target="../media/image224.png"/><Relationship Id="rId10" Type="http://schemas.openxmlformats.org/officeDocument/2006/relationships/image" Target="../media/image22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28.png"/><Relationship Id="rId14" Type="http://schemas.openxmlformats.org/officeDocument/2006/relationships/image" Target="../media/image23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png"/><Relationship Id="rId3" Type="http://schemas.openxmlformats.org/officeDocument/2006/relationships/image" Target="../media/image235.png"/><Relationship Id="rId7" Type="http://schemas.openxmlformats.org/officeDocument/2006/relationships/image" Target="../media/image239.png"/><Relationship Id="rId12" Type="http://schemas.openxmlformats.org/officeDocument/2006/relationships/image" Target="../media/image244.svg"/><Relationship Id="rId2" Type="http://schemas.openxmlformats.org/officeDocument/2006/relationships/image" Target="../media/image2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8.png"/><Relationship Id="rId11" Type="http://schemas.openxmlformats.org/officeDocument/2006/relationships/image" Target="../media/image243.png"/><Relationship Id="rId5" Type="http://schemas.openxmlformats.org/officeDocument/2006/relationships/image" Target="../media/image237.png"/><Relationship Id="rId10" Type="http://schemas.openxmlformats.org/officeDocument/2006/relationships/image" Target="../media/image242.svg"/><Relationship Id="rId4" Type="http://schemas.openxmlformats.org/officeDocument/2006/relationships/image" Target="../media/image236.png"/><Relationship Id="rId9" Type="http://schemas.openxmlformats.org/officeDocument/2006/relationships/image" Target="../media/image24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image" Target="../media/image245.png"/><Relationship Id="rId5" Type="http://schemas.openxmlformats.org/officeDocument/2006/relationships/tags" Target="../tags/tag138.xml"/><Relationship Id="rId10" Type="http://schemas.openxmlformats.org/officeDocument/2006/relationships/notesSlide" Target="../notesSlides/notesSlide31.xml"/><Relationship Id="rId4" Type="http://schemas.openxmlformats.org/officeDocument/2006/relationships/tags" Target="../tags/tag137.xml"/><Relationship Id="rId9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13" Type="http://schemas.openxmlformats.org/officeDocument/2006/relationships/image" Target="../media/image251.svg"/><Relationship Id="rId18" Type="http://schemas.openxmlformats.org/officeDocument/2006/relationships/image" Target="../media/image256.png"/><Relationship Id="rId3" Type="http://schemas.openxmlformats.org/officeDocument/2006/relationships/tags" Target="../tags/tag144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250.png"/><Relationship Id="rId17" Type="http://schemas.openxmlformats.org/officeDocument/2006/relationships/image" Target="../media/image255.png"/><Relationship Id="rId2" Type="http://schemas.openxmlformats.org/officeDocument/2006/relationships/tags" Target="../tags/tag143.xml"/><Relationship Id="rId16" Type="http://schemas.openxmlformats.org/officeDocument/2006/relationships/image" Target="../media/image254.png"/><Relationship Id="rId20" Type="http://schemas.openxmlformats.org/officeDocument/2006/relationships/image" Target="../media/image258.png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3.xml"/><Relationship Id="rId11" Type="http://schemas.openxmlformats.org/officeDocument/2006/relationships/image" Target="../media/image249.sv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253.png"/><Relationship Id="rId10" Type="http://schemas.openxmlformats.org/officeDocument/2006/relationships/image" Target="../media/image248.png"/><Relationship Id="rId19" Type="http://schemas.openxmlformats.org/officeDocument/2006/relationships/image" Target="../media/image257.png"/><Relationship Id="rId4" Type="http://schemas.openxmlformats.org/officeDocument/2006/relationships/tags" Target="../tags/tag145.xml"/><Relationship Id="rId9" Type="http://schemas.openxmlformats.org/officeDocument/2006/relationships/chart" Target="../charts/chart2.xml"/><Relationship Id="rId14" Type="http://schemas.openxmlformats.org/officeDocument/2006/relationships/image" Target="../media/image25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3.jpeg"/><Relationship Id="rId13" Type="http://schemas.openxmlformats.org/officeDocument/2006/relationships/image" Target="../media/image268.png"/><Relationship Id="rId3" Type="http://schemas.openxmlformats.org/officeDocument/2006/relationships/image" Target="../media/image259.jpeg"/><Relationship Id="rId7" Type="http://schemas.openxmlformats.org/officeDocument/2006/relationships/image" Target="../media/image262.png"/><Relationship Id="rId12" Type="http://schemas.openxmlformats.org/officeDocument/2006/relationships/image" Target="../media/image267.png"/><Relationship Id="rId17" Type="http://schemas.openxmlformats.org/officeDocument/2006/relationships/image" Target="../media/image272.png"/><Relationship Id="rId2" Type="http://schemas.openxmlformats.org/officeDocument/2006/relationships/notesSlide" Target="../notesSlides/notesSlide34.xml"/><Relationship Id="rId16" Type="http://schemas.openxmlformats.org/officeDocument/2006/relationships/image" Target="../media/image27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1.png"/><Relationship Id="rId11" Type="http://schemas.openxmlformats.org/officeDocument/2006/relationships/image" Target="../media/image266.jpeg"/><Relationship Id="rId5" Type="http://schemas.openxmlformats.org/officeDocument/2006/relationships/image" Target="../media/image260.png"/><Relationship Id="rId15" Type="http://schemas.openxmlformats.org/officeDocument/2006/relationships/image" Target="../media/image270.png"/><Relationship Id="rId10" Type="http://schemas.openxmlformats.org/officeDocument/2006/relationships/image" Target="../media/image265.jpeg"/><Relationship Id="rId4" Type="http://schemas.openxmlformats.org/officeDocument/2006/relationships/image" Target="../media/image258.png"/><Relationship Id="rId9" Type="http://schemas.openxmlformats.org/officeDocument/2006/relationships/image" Target="../media/image264.png"/><Relationship Id="rId14" Type="http://schemas.openxmlformats.org/officeDocument/2006/relationships/image" Target="../media/image26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3.png"/><Relationship Id="rId13" Type="http://schemas.microsoft.com/office/2007/relationships/hdphoto" Target="../media/hdphoto11.wdp"/><Relationship Id="rId3" Type="http://schemas.openxmlformats.org/officeDocument/2006/relationships/tags" Target="../tags/tag147.xml"/><Relationship Id="rId7" Type="http://schemas.openxmlformats.org/officeDocument/2006/relationships/image" Target="../media/image52.emf"/><Relationship Id="rId12" Type="http://schemas.openxmlformats.org/officeDocument/2006/relationships/image" Target="../media/image275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microsoft.com/office/2007/relationships/hdphoto" Target="../media/hdphoto10.wdp"/><Relationship Id="rId5" Type="http://schemas.openxmlformats.org/officeDocument/2006/relationships/notesSlide" Target="../notesSlides/notesSlide35.xml"/><Relationship Id="rId15" Type="http://schemas.openxmlformats.org/officeDocument/2006/relationships/image" Target="../media/image277.svg"/><Relationship Id="rId10" Type="http://schemas.openxmlformats.org/officeDocument/2006/relationships/image" Target="../media/image274.png"/><Relationship Id="rId4" Type="http://schemas.openxmlformats.org/officeDocument/2006/relationships/slideLayout" Target="../slideLayouts/slideLayout1.xml"/><Relationship Id="rId9" Type="http://schemas.microsoft.com/office/2007/relationships/hdphoto" Target="../media/hdphoto9.wdp"/><Relationship Id="rId14" Type="http://schemas.openxmlformats.org/officeDocument/2006/relationships/image" Target="../media/image276.png"/></Relationships>
</file>

<file path=ppt/slides/_rels/slide45.xml.rels><?xml version="1.0" encoding="UTF-8" standalone="yes"?>
<Relationships xmlns="http://schemas.openxmlformats.org/package/2006/relationships"><Relationship Id="rId13" Type="http://schemas.openxmlformats.org/officeDocument/2006/relationships/tags" Target="../tags/tag159.xml"/><Relationship Id="rId18" Type="http://schemas.openxmlformats.org/officeDocument/2006/relationships/image" Target="../media/image52.emf"/><Relationship Id="rId26" Type="http://schemas.openxmlformats.org/officeDocument/2006/relationships/image" Target="../media/image281.svg"/><Relationship Id="rId21" Type="http://schemas.openxmlformats.org/officeDocument/2006/relationships/image" Target="../media/image248.png"/><Relationship Id="rId34" Type="http://schemas.openxmlformats.org/officeDocument/2006/relationships/image" Target="../media/image251.svg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oleObject" Target="../embeddings/oleObject17.bin"/><Relationship Id="rId25" Type="http://schemas.openxmlformats.org/officeDocument/2006/relationships/image" Target="../media/image280.png"/><Relationship Id="rId33" Type="http://schemas.openxmlformats.org/officeDocument/2006/relationships/image" Target="../media/image250.png"/><Relationship Id="rId38" Type="http://schemas.openxmlformats.org/officeDocument/2006/relationships/image" Target="../media/image290.png"/><Relationship Id="rId2" Type="http://schemas.openxmlformats.org/officeDocument/2006/relationships/tags" Target="../tags/tag148.xml"/><Relationship Id="rId16" Type="http://schemas.openxmlformats.org/officeDocument/2006/relationships/notesSlide" Target="../notesSlides/notesSlide36.xml"/><Relationship Id="rId20" Type="http://schemas.openxmlformats.org/officeDocument/2006/relationships/image" Target="../media/image3.png"/><Relationship Id="rId29" Type="http://schemas.openxmlformats.org/officeDocument/2006/relationships/image" Target="../media/image284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image" Target="../media/image279.svg"/><Relationship Id="rId32" Type="http://schemas.openxmlformats.org/officeDocument/2006/relationships/image" Target="../media/image287.svg"/><Relationship Id="rId37" Type="http://schemas.openxmlformats.org/officeDocument/2006/relationships/image" Target="../media/image18.png"/><Relationship Id="rId5" Type="http://schemas.openxmlformats.org/officeDocument/2006/relationships/tags" Target="../tags/tag151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278.png"/><Relationship Id="rId28" Type="http://schemas.openxmlformats.org/officeDocument/2006/relationships/image" Target="../media/image283.svg"/><Relationship Id="rId36" Type="http://schemas.openxmlformats.org/officeDocument/2006/relationships/image" Target="../media/image289.svg"/><Relationship Id="rId10" Type="http://schemas.openxmlformats.org/officeDocument/2006/relationships/tags" Target="../tags/tag156.xml"/><Relationship Id="rId19" Type="http://schemas.openxmlformats.org/officeDocument/2006/relationships/chart" Target="../charts/chart3.xml"/><Relationship Id="rId31" Type="http://schemas.openxmlformats.org/officeDocument/2006/relationships/image" Target="../media/image286.png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image" Target="../media/image249.svg"/><Relationship Id="rId27" Type="http://schemas.openxmlformats.org/officeDocument/2006/relationships/image" Target="../media/image282.png"/><Relationship Id="rId30" Type="http://schemas.openxmlformats.org/officeDocument/2006/relationships/image" Target="../media/image285.svg"/><Relationship Id="rId35" Type="http://schemas.openxmlformats.org/officeDocument/2006/relationships/image" Target="../media/image288.png"/><Relationship Id="rId8" Type="http://schemas.openxmlformats.org/officeDocument/2006/relationships/tags" Target="../tags/tag154.xml"/><Relationship Id="rId3" Type="http://schemas.openxmlformats.org/officeDocument/2006/relationships/tags" Target="../tags/tag14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91.jpeg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3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292.png"/><Relationship Id="rId7" Type="http://schemas.openxmlformats.org/officeDocument/2006/relationships/image" Target="../media/image29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5.png"/><Relationship Id="rId5" Type="http://schemas.openxmlformats.org/officeDocument/2006/relationships/image" Target="../media/image294.png"/><Relationship Id="rId4" Type="http://schemas.openxmlformats.org/officeDocument/2006/relationships/image" Target="../media/image293.png"/><Relationship Id="rId9" Type="http://schemas.openxmlformats.org/officeDocument/2006/relationships/image" Target="../media/image297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3.png"/><Relationship Id="rId3" Type="http://schemas.openxmlformats.org/officeDocument/2006/relationships/image" Target="../media/image298.png"/><Relationship Id="rId7" Type="http://schemas.openxmlformats.org/officeDocument/2006/relationships/image" Target="../media/image30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1.png"/><Relationship Id="rId5" Type="http://schemas.openxmlformats.org/officeDocument/2006/relationships/image" Target="../media/image300.png"/><Relationship Id="rId10" Type="http://schemas.openxmlformats.org/officeDocument/2006/relationships/image" Target="../media/image305.png"/><Relationship Id="rId4" Type="http://schemas.openxmlformats.org/officeDocument/2006/relationships/image" Target="../media/image299.png"/><Relationship Id="rId9" Type="http://schemas.openxmlformats.org/officeDocument/2006/relationships/image" Target="../media/image304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CFE20DA-F36C-8D48-B2CF-9265E7284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3554" y="3548957"/>
            <a:ext cx="7870991" cy="1477957"/>
          </a:xfrm>
        </p:spPr>
        <p:txBody>
          <a:bodyPr/>
          <a:lstStyle/>
          <a:p>
            <a:r>
              <a:rPr lang="it-IT" sz="3600"/>
              <a:t>Presentazione </a:t>
            </a:r>
            <a:br>
              <a:rPr lang="it-IT" sz="3600"/>
            </a:br>
            <a:r>
              <a:rPr lang="it-IT" sz="3600"/>
              <a:t>Intesa Sanpaolo </a:t>
            </a:r>
            <a:r>
              <a:rPr lang="it-IT" sz="3600" err="1"/>
              <a:t>Innovation</a:t>
            </a:r>
            <a:r>
              <a:rPr lang="it-IT" sz="3600"/>
              <a:t> Center</a:t>
            </a:r>
            <a:br>
              <a:rPr lang="it-IT" sz="3600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7860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73" r="27763"/>
          <a:stretch/>
        </p:blipFill>
        <p:spPr>
          <a:xfrm>
            <a:off x="4820450" y="-14135"/>
            <a:ext cx="7371461" cy="6248092"/>
          </a:xfrm>
          <a:prstGeom prst="parallelogram">
            <a:avLst>
              <a:gd name="adj" fmla="val 0"/>
            </a:avLst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91306" y="339811"/>
            <a:ext cx="2840387" cy="688972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82517F25-81D6-6145-A702-D2E75E34F646}"/>
              </a:ext>
            </a:extLst>
          </p:cNvPr>
          <p:cNvSpPr/>
          <p:nvPr/>
        </p:nvSpPr>
        <p:spPr>
          <a:xfrm>
            <a:off x="4774940" y="0"/>
            <a:ext cx="5351321" cy="6233956"/>
          </a:xfrm>
          <a:prstGeom prst="rect">
            <a:avLst/>
          </a:prstGeom>
          <a:gradFill>
            <a:gsLst>
              <a:gs pos="0">
                <a:schemeClr val="bg1"/>
              </a:gs>
              <a:gs pos="56000">
                <a:srgbClr val="FFFFFF">
                  <a:alpha val="83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DB6BF201-C536-9147-8CE5-215339D131B9}"/>
              </a:ext>
            </a:extLst>
          </p:cNvPr>
          <p:cNvSpPr/>
          <p:nvPr/>
        </p:nvSpPr>
        <p:spPr>
          <a:xfrm>
            <a:off x="381676" y="1242612"/>
            <a:ext cx="7798763" cy="5190541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EVA SGR (100% Intesa Sanpaolo Innovation Center) progetta e gestisce fondi di Venture Capital individuando le startup ad alto contenuto tecnologico </a:t>
            </a:r>
            <a:r>
              <a:rPr kumimoji="0" lang="it-IT" sz="184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iu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̀ innovative e promettenti sul mercato.  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4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ndi attivi: </a:t>
            </a:r>
          </a:p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b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EVA First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esente sul mercato dall'agosto 2020, con dotazione </a:t>
            </a:r>
          </a:p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 </a:t>
            </a:r>
            <a:r>
              <a:rPr kumimoji="0" lang="it-IT" sz="184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50 milioni di euro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 investe in startup innovative dedicate alla trasformazione della finanza (</a:t>
            </a: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ntech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) ed ad alto contenuto tecnologico (</a:t>
            </a: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eep tech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), in Italia e all'estero.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EVA First Italia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icerca le </a:t>
            </a:r>
            <a:r>
              <a:rPr kumimoji="0" lang="it-IT" sz="184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igliori startup tecnologiche italiane </a:t>
            </a:r>
            <a:r>
              <a:rPr kumimoji="0" lang="it-IT" sz="18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he operano sui mercati globali a partire da ottobre 2021.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it-IT" sz="1840">
              <a:solidFill>
                <a:srgbClr val="000000"/>
              </a:solidFill>
              <a:latin typeface="Century Gothic"/>
            </a:endParaRPr>
          </a:p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840" b="1">
                <a:solidFill>
                  <a:srgbClr val="000000"/>
                </a:solidFill>
                <a:latin typeface="Century Gothic" panose="020B0502020202020204" pitchFamily="34" charset="0"/>
              </a:rPr>
              <a:t>NEVA SEI</a:t>
            </a:r>
            <a:r>
              <a:rPr lang="it-IT" sz="1840">
                <a:solidFill>
                  <a:srgbClr val="000000"/>
                </a:solidFill>
                <a:latin typeface="Century Gothic" panose="020B0502020202020204" pitchFamily="34" charset="0"/>
              </a:rPr>
              <a:t>, fondo istituito nel 2022 con dotazione iniziale di 15 </a:t>
            </a:r>
          </a:p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840">
                <a:solidFill>
                  <a:srgbClr val="000000"/>
                </a:solidFill>
                <a:latin typeface="Century Gothic" panose="020B0502020202020204" pitchFamily="34" charset="0"/>
              </a:rPr>
              <a:t>Milioni di euro per </a:t>
            </a:r>
            <a:r>
              <a:rPr lang="it-IT" sz="184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sostenere la crescita dell’</a:t>
            </a:r>
            <a:r>
              <a:rPr lang="it-IT" sz="1840" b="1" i="1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ecosistema italiano dell’innovazione</a:t>
            </a:r>
            <a:r>
              <a:rPr lang="it-IT" sz="1840" i="1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.</a:t>
            </a:r>
            <a:endParaRPr lang="it-IT" sz="1840" i="1">
              <a:effectLst/>
              <a:latin typeface="Century Gothic" panose="020B0502020202020204" pitchFamily="34" charset="0"/>
              <a:ea typeface="Calibri" panose="020F0502020204030204" pitchFamily="34" charset="0"/>
            </a:endParaRP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3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6456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988" y="0"/>
            <a:ext cx="11007012" cy="6281683"/>
          </a:xfrm>
          <a:prstGeom prst="rect">
            <a:avLst/>
          </a:prstGeom>
        </p:spPr>
      </p:pic>
      <p:sp>
        <p:nvSpPr>
          <p:cNvPr id="15" name="Rectangle 5"/>
          <p:cNvSpPr/>
          <p:nvPr/>
        </p:nvSpPr>
        <p:spPr>
          <a:xfrm>
            <a:off x="80826" y="0"/>
            <a:ext cx="12191906" cy="6281682"/>
          </a:xfrm>
          <a:prstGeom prst="rect">
            <a:avLst/>
          </a:prstGeom>
          <a:gradFill flip="none" rotWithShape="1">
            <a:gsLst>
              <a:gs pos="83000">
                <a:srgbClr val="FFFFFF">
                  <a:alpha val="73000"/>
                </a:srgbClr>
              </a:gs>
              <a:gs pos="2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F775D030-AAED-400C-B0B8-58A7ED43890C}"/>
              </a:ext>
            </a:extLst>
          </p:cNvPr>
          <p:cNvSpPr/>
          <p:nvPr/>
        </p:nvSpPr>
        <p:spPr>
          <a:xfrm>
            <a:off x="2769229" y="1672989"/>
            <a:ext cx="2037977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0</a:t>
            </a: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ERCORSI </a:t>
            </a:r>
            <a:b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 ACCELERAZIONE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82A240BC-84C8-4F15-9A74-DD73CBD96245}"/>
              </a:ext>
            </a:extLst>
          </p:cNvPr>
          <p:cNvSpPr/>
          <p:nvPr/>
        </p:nvSpPr>
        <p:spPr>
          <a:xfrm>
            <a:off x="518749" y="1672989"/>
            <a:ext cx="1822306" cy="720454"/>
          </a:xfrm>
          <a:prstGeom prst="rect">
            <a:avLst/>
          </a:prstGeom>
        </p:spPr>
        <p:txBody>
          <a:bodyPr wrap="square" l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SVILUPPO</a:t>
            </a:r>
            <a:endParaRPr kumimoji="0" lang="it-IT" sz="2041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STARTUP</a:t>
            </a:r>
            <a:endParaRPr kumimoji="0" lang="it-IT" sz="1071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CC0A1F0B-0B8E-4C7E-976B-AB8CFCE6B676}"/>
              </a:ext>
            </a:extLst>
          </p:cNvPr>
          <p:cNvSpPr/>
          <p:nvPr/>
        </p:nvSpPr>
        <p:spPr>
          <a:xfrm>
            <a:off x="5645091" y="1672989"/>
            <a:ext cx="2376764" cy="832873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.500</a:t>
            </a: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RTUP ANALIZZATE PER </a:t>
            </a:r>
            <a:b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ERCORSI DI ACCELERAZIONE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1ED9CBCB-1C13-4B10-B740-73475382568B}"/>
              </a:ext>
            </a:extLst>
          </p:cNvPr>
          <p:cNvSpPr/>
          <p:nvPr/>
        </p:nvSpPr>
        <p:spPr>
          <a:xfrm>
            <a:off x="8983263" y="1672989"/>
            <a:ext cx="1571659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00</a:t>
            </a: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RTUP ACCELERATE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ECEF6695-BA19-445F-8223-C9F83948C945}"/>
              </a:ext>
            </a:extLst>
          </p:cNvPr>
          <p:cNvSpPr/>
          <p:nvPr/>
        </p:nvSpPr>
        <p:spPr>
          <a:xfrm>
            <a:off x="2677346" y="2579118"/>
            <a:ext cx="2221742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>
                <a:solidFill>
                  <a:srgbClr val="406B9B"/>
                </a:solidFill>
                <a:latin typeface="Century Gothic"/>
              </a:rPr>
              <a:t>55</a:t>
            </a: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OGETTI DI RICERCA </a:t>
            </a:r>
            <a:b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TTIVATI</a:t>
            </a: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42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3AD220A9-008F-49F1-9C25-08ABE53F45F2}"/>
              </a:ext>
            </a:extLst>
          </p:cNvPr>
          <p:cNvSpPr/>
          <p:nvPr/>
        </p:nvSpPr>
        <p:spPr>
          <a:xfrm>
            <a:off x="518749" y="2579118"/>
            <a:ext cx="2465536" cy="707886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962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00" b="1">
                <a:solidFill>
                  <a:srgbClr val="003A79"/>
                </a:solidFill>
                <a:latin typeface="Century Gothic"/>
              </a:rPr>
              <a:t>FRONTIER RESEARCH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9CD177C3-D740-4FED-94D4-0C1E5B2550D0}"/>
              </a:ext>
            </a:extLst>
          </p:cNvPr>
          <p:cNvSpPr/>
          <p:nvPr/>
        </p:nvSpPr>
        <p:spPr>
          <a:xfrm>
            <a:off x="6361040" y="2579118"/>
            <a:ext cx="944867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</a:rPr>
              <a:t>40</a:t>
            </a: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PORT </a:t>
            </a:r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9634438A-8164-4A8A-98CF-18C9587B1BCB}"/>
              </a:ext>
            </a:extLst>
          </p:cNvPr>
          <p:cNvSpPr/>
          <p:nvPr/>
        </p:nvSpPr>
        <p:spPr>
          <a:xfrm>
            <a:off x="8708026" y="2579118"/>
            <a:ext cx="2122133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0</a:t>
            </a: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UBBLICAZIONI </a:t>
            </a:r>
            <a:b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VULGATIVE/SCIENTIFICHE</a:t>
            </a: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9" name="CasellaDiTesto 14">
            <a:extLst>
              <a:ext uri="{FF2B5EF4-FFF2-40B4-BE49-F238E27FC236}">
                <a16:creationId xmlns:a16="http://schemas.microsoft.com/office/drawing/2014/main" id="{D897C0A5-C989-432C-9336-F126081F4455}"/>
              </a:ext>
            </a:extLst>
          </p:cNvPr>
          <p:cNvSpPr txBox="1"/>
          <p:nvPr/>
        </p:nvSpPr>
        <p:spPr>
          <a:xfrm>
            <a:off x="525729" y="3322152"/>
            <a:ext cx="15543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dal 2018 al 30/06/2023</a:t>
            </a:r>
          </a:p>
        </p:txBody>
      </p:sp>
      <p:cxnSp>
        <p:nvCxnSpPr>
          <p:cNvPr id="62" name="Connettore 1 34">
            <a:extLst>
              <a:ext uri="{FF2B5EF4-FFF2-40B4-BE49-F238E27FC236}">
                <a16:creationId xmlns:a16="http://schemas.microsoft.com/office/drawing/2014/main" id="{1C01CBF0-368B-404F-9264-61364189A68F}"/>
              </a:ext>
            </a:extLst>
          </p:cNvPr>
          <p:cNvCxnSpPr>
            <a:cxnSpLocks/>
          </p:cNvCxnSpPr>
          <p:nvPr/>
        </p:nvCxnSpPr>
        <p:spPr>
          <a:xfrm>
            <a:off x="521794" y="2572989"/>
            <a:ext cx="11177443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ttangolo 66">
            <a:extLst>
              <a:ext uri="{FF2B5EF4-FFF2-40B4-BE49-F238E27FC236}">
                <a16:creationId xmlns:a16="http://schemas.microsoft.com/office/drawing/2014/main" id="{E56FA91E-A96D-4255-8B9F-9FA75D207B73}"/>
              </a:ext>
            </a:extLst>
          </p:cNvPr>
          <p:cNvSpPr/>
          <p:nvPr/>
        </p:nvSpPr>
        <p:spPr>
          <a:xfrm>
            <a:off x="3350061" y="908844"/>
            <a:ext cx="876313" cy="728185"/>
          </a:xfrm>
          <a:prstGeom prst="rect">
            <a:avLst/>
          </a:prstGeom>
        </p:spPr>
        <p:txBody>
          <a:bodyPr wrap="square" lIns="93297" tIns="46649" rIns="93297" bIns="46649" anchor="t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00" b="1">
                <a:solidFill>
                  <a:srgbClr val="406B9B"/>
                </a:solidFill>
                <a:latin typeface="Century Gothic"/>
                <a:cs typeface="Arial"/>
              </a:rPr>
              <a:t>70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PERSONE</a:t>
            </a:r>
            <a:endParaRPr lang="it-IT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8F0144E4-1D50-4E25-BD3B-ABD213D78C0C}"/>
              </a:ext>
            </a:extLst>
          </p:cNvPr>
          <p:cNvSpPr/>
          <p:nvPr/>
        </p:nvSpPr>
        <p:spPr>
          <a:xfrm>
            <a:off x="6269931" y="908844"/>
            <a:ext cx="1127084" cy="754478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00" b="1">
                <a:solidFill>
                  <a:srgbClr val="406B9B"/>
                </a:solidFill>
                <a:latin typeface="Century Gothic"/>
              </a:rPr>
              <a:t>100%</a:t>
            </a:r>
            <a:endParaRPr lang="it-IT" sz="2800">
              <a:solidFill>
                <a:srgbClr val="406B9B"/>
              </a:solidFill>
              <a:latin typeface="Arial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LAUREATI </a:t>
            </a:r>
            <a:endParaRPr lang="it-IT" sz="10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9EBFD1EF-D97A-423B-8A08-203F37750F42}"/>
              </a:ext>
            </a:extLst>
          </p:cNvPr>
          <p:cNvSpPr/>
          <p:nvPr/>
        </p:nvSpPr>
        <p:spPr>
          <a:xfrm>
            <a:off x="9026282" y="908844"/>
            <a:ext cx="1485621" cy="67898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00" b="1">
                <a:solidFill>
                  <a:srgbClr val="406B9B"/>
                </a:solidFill>
                <a:latin typeface="Century Gothic"/>
              </a:rPr>
              <a:t>42</a:t>
            </a:r>
            <a:endParaRPr lang="it-IT" sz="2800" b="1">
              <a:solidFill>
                <a:srgbClr val="406B9B"/>
              </a:solidFill>
              <a:latin typeface="Century Gothic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ANNI (ETÀ MEDIA)</a:t>
            </a:r>
            <a:endParaRPr lang="it-IT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0" name="CasellaDiTesto 1">
            <a:extLst>
              <a:ext uri="{FF2B5EF4-FFF2-40B4-BE49-F238E27FC236}">
                <a16:creationId xmlns:a16="http://schemas.microsoft.com/office/drawing/2014/main" id="{1CAA82E4-4BA1-40D7-AAA0-E4ACB601FF7F}"/>
              </a:ext>
            </a:extLst>
          </p:cNvPr>
          <p:cNvSpPr txBox="1"/>
          <p:nvPr/>
        </p:nvSpPr>
        <p:spPr>
          <a:xfrm>
            <a:off x="525729" y="1500146"/>
            <a:ext cx="128907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it-IT" sz="800">
                <a:solidFill>
                  <a:srgbClr val="808080"/>
                </a:solidFill>
              </a:rPr>
              <a:t>Dati al </a:t>
            </a: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</a:rPr>
              <a:t>30/06/2023</a:t>
            </a:r>
            <a:endParaRPr lang="it-IT" sz="800">
              <a:solidFill>
                <a:srgbClr val="808080"/>
              </a:solidFill>
              <a:sym typeface="Century Gothic" panose="020B0502020202020204" pitchFamily="34" charset="0"/>
            </a:endParaRPr>
          </a:p>
        </p:txBody>
      </p:sp>
      <p:sp>
        <p:nvSpPr>
          <p:cNvPr id="71" name="Rettangolo 70">
            <a:extLst>
              <a:ext uri="{FF2B5EF4-FFF2-40B4-BE49-F238E27FC236}">
                <a16:creationId xmlns:a16="http://schemas.microsoft.com/office/drawing/2014/main" id="{DA4D79DF-10FC-4F99-B3B1-7BBD5F204149}"/>
              </a:ext>
            </a:extLst>
          </p:cNvPr>
          <p:cNvSpPr/>
          <p:nvPr/>
        </p:nvSpPr>
        <p:spPr>
          <a:xfrm>
            <a:off x="518749" y="996144"/>
            <a:ext cx="2468467" cy="408269"/>
          </a:xfrm>
          <a:prstGeom prst="rect">
            <a:avLst/>
          </a:prstGeom>
        </p:spPr>
        <p:txBody>
          <a:bodyPr wrap="square" lIns="0" tIns="46649" rIns="93297" bIns="46649" anchor="ctr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/>
              </a:rPr>
              <a:t>LA SOCIETÀ</a:t>
            </a:r>
            <a:endParaRPr lang="it-IT" sz="2041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72" name="Connettore 1 34">
            <a:extLst>
              <a:ext uri="{FF2B5EF4-FFF2-40B4-BE49-F238E27FC236}">
                <a16:creationId xmlns:a16="http://schemas.microsoft.com/office/drawing/2014/main" id="{7CF5BCE9-8940-407A-9023-3B2A69FB2ED3}"/>
              </a:ext>
            </a:extLst>
          </p:cNvPr>
          <p:cNvCxnSpPr>
            <a:cxnSpLocks/>
          </p:cNvCxnSpPr>
          <p:nvPr/>
        </p:nvCxnSpPr>
        <p:spPr>
          <a:xfrm>
            <a:off x="521794" y="1656269"/>
            <a:ext cx="11177444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sellaDiTesto 14">
            <a:extLst>
              <a:ext uri="{FF2B5EF4-FFF2-40B4-BE49-F238E27FC236}">
                <a16:creationId xmlns:a16="http://schemas.microsoft.com/office/drawing/2014/main" id="{6B7ED06E-8DE9-45CD-9BA3-DD9B330FB797}"/>
              </a:ext>
            </a:extLst>
          </p:cNvPr>
          <p:cNvSpPr txBox="1"/>
          <p:nvPr/>
        </p:nvSpPr>
        <p:spPr>
          <a:xfrm>
            <a:off x="537004" y="2425548"/>
            <a:ext cx="1387360" cy="127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dal 2018 al 30/06/2023</a:t>
            </a:r>
          </a:p>
        </p:txBody>
      </p:sp>
      <p:sp>
        <p:nvSpPr>
          <p:cNvPr id="74" name="Titolo 1">
            <a:extLst>
              <a:ext uri="{FF2B5EF4-FFF2-40B4-BE49-F238E27FC236}">
                <a16:creationId xmlns:a16="http://schemas.microsoft.com/office/drawing/2014/main" id="{AFEC3D03-0B55-4E19-B849-7D9736DA6C5B}"/>
              </a:ext>
            </a:extLst>
          </p:cNvPr>
          <p:cNvSpPr txBox="1">
            <a:spLocks/>
          </p:cNvSpPr>
          <p:nvPr/>
        </p:nvSpPr>
        <p:spPr>
          <a:xfrm>
            <a:off x="208345" y="87432"/>
            <a:ext cx="10397828" cy="560750"/>
          </a:xfrm>
          <a:prstGeom prst="rect">
            <a:avLst/>
          </a:prstGeom>
        </p:spPr>
        <p:txBody>
          <a:bodyPr lIns="0" tIns="0" rIns="0" bIns="0"/>
          <a:lstStyle>
            <a:lvl1pPr defTabSz="932962" eaLnBrk="0" fontAlgn="base" hangingPunct="0">
              <a:spcBef>
                <a:spcPct val="0"/>
              </a:spcBef>
              <a:spcAft>
                <a:spcPct val="0"/>
              </a:spcAft>
              <a:tabLst/>
              <a:defRPr sz="2400" b="1" baseline="0">
                <a:solidFill>
                  <a:srgbClr val="4472C4">
                    <a:lumMod val="75000"/>
                  </a:srgbClr>
                </a:solidFill>
                <a:latin typeface="Century Gothic" pitchFamily="34" charset="0"/>
                <a:ea typeface="+mj-ea"/>
                <a:cs typeface="Arial"/>
                <a:sym typeface="Century Gothic" panose="020B0502020202020204" pitchFamily="34" charset="0"/>
              </a:defRPr>
            </a:lvl1pPr>
            <a:lvl2pPr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2pPr>
            <a:lvl3pPr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3pPr>
            <a:lvl4pPr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4pPr>
            <a:lvl5pPr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5pPr>
            <a:lvl6pPr marL="622005"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6pPr>
            <a:lvl7pPr marL="1244012"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7pPr>
            <a:lvl8pPr marL="1866017"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8pPr>
            <a:lvl9pPr marL="2488024" defTabSz="1218095" fontAlgn="base">
              <a:spcBef>
                <a:spcPct val="0"/>
              </a:spcBef>
              <a:spcAft>
                <a:spcPct val="0"/>
              </a:spcAft>
              <a:defRPr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it-IT"/>
          </a:p>
        </p:txBody>
      </p:sp>
      <p:sp>
        <p:nvSpPr>
          <p:cNvPr id="77" name="Rettangolo 76">
            <a:extLst>
              <a:ext uri="{FF2B5EF4-FFF2-40B4-BE49-F238E27FC236}">
                <a16:creationId xmlns:a16="http://schemas.microsoft.com/office/drawing/2014/main" id="{61717E16-D1EE-4637-A025-98327DD1318B}"/>
              </a:ext>
            </a:extLst>
          </p:cNvPr>
          <p:cNvSpPr/>
          <p:nvPr/>
        </p:nvSpPr>
        <p:spPr>
          <a:xfrm>
            <a:off x="8674806" y="2836146"/>
            <a:ext cx="3060020" cy="27890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BFD4010D-AE53-4EE3-9DD7-6653CF85B23A}"/>
              </a:ext>
            </a:extLst>
          </p:cNvPr>
          <p:cNvSpPr/>
          <p:nvPr/>
        </p:nvSpPr>
        <p:spPr>
          <a:xfrm>
            <a:off x="2523926" y="3508058"/>
            <a:ext cx="2366023" cy="832873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~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00</a:t>
            </a: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lvl="0"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AZIENDE INSERITE </a:t>
            </a:r>
            <a:br>
              <a:rPr lang="it-IT" sz="1000">
                <a:solidFill>
                  <a:srgbClr val="000000"/>
                </a:solidFill>
                <a:latin typeface="Century Gothic"/>
              </a:rPr>
            </a:br>
            <a:r>
              <a:rPr lang="it-IT" sz="1000">
                <a:solidFill>
                  <a:srgbClr val="000000"/>
                </a:solidFill>
                <a:latin typeface="Century Gothic"/>
              </a:rPr>
              <a:t>NEL PORTAFOGLIO DELLA SOCIETÀ</a:t>
            </a: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3B7703F0-6EAF-4D86-9B67-333694117E49}"/>
              </a:ext>
            </a:extLst>
          </p:cNvPr>
          <p:cNvSpPr/>
          <p:nvPr/>
        </p:nvSpPr>
        <p:spPr>
          <a:xfrm>
            <a:off x="5291980" y="3508058"/>
            <a:ext cx="3082987" cy="832873"/>
          </a:xfrm>
          <a:prstGeom prst="rect">
            <a:avLst/>
          </a:prstGeom>
        </p:spPr>
        <p:txBody>
          <a:bodyPr wrap="square" lIns="93600" tIns="46649" rIns="93297" bIns="46649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0</a:t>
            </a:r>
            <a:endParaRPr kumimoji="0" lang="it-IT" sz="2800" b="1" i="0" u="none" strike="noStrike" kern="1200" cap="none" spc="0" normalizeH="0" baseline="8000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ZIENDE INSERITE PER PROGETTI TRASFORMATIVI </a:t>
            </a: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 OTTICA CIRCULAR E GREEN ECONOMY</a:t>
            </a: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FF6E482B-0068-4E30-B43E-D249A4581C2A}"/>
              </a:ext>
            </a:extLst>
          </p:cNvPr>
          <p:cNvSpPr/>
          <p:nvPr/>
        </p:nvSpPr>
        <p:spPr>
          <a:xfrm>
            <a:off x="8668303" y="3508058"/>
            <a:ext cx="2201578" cy="832873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40</a:t>
            </a:r>
          </a:p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RTUP ENTRATE NEL NETWORK</a:t>
            </a:r>
            <a:b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AL 2018</a:t>
            </a: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21531411-3BCA-42E4-ABFA-33F311C77788}"/>
              </a:ext>
            </a:extLst>
          </p:cNvPr>
          <p:cNvSpPr/>
          <p:nvPr/>
        </p:nvSpPr>
        <p:spPr>
          <a:xfrm>
            <a:off x="518749" y="3508058"/>
            <a:ext cx="1822306" cy="720454"/>
          </a:xfrm>
          <a:prstGeom prst="rect">
            <a:avLst/>
          </a:prstGeom>
        </p:spPr>
        <p:txBody>
          <a:bodyPr wrap="square" l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41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PEN </a:t>
            </a:r>
          </a:p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41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NOVATION</a:t>
            </a:r>
          </a:p>
        </p:txBody>
      </p:sp>
      <p:sp>
        <p:nvSpPr>
          <p:cNvPr id="49" name="CasellaDiTesto 1">
            <a:extLst>
              <a:ext uri="{FF2B5EF4-FFF2-40B4-BE49-F238E27FC236}">
                <a16:creationId xmlns:a16="http://schemas.microsoft.com/office/drawing/2014/main" id="{EE412FD8-5B6D-45D8-9CC4-7C63965A8586}"/>
              </a:ext>
            </a:extLst>
          </p:cNvPr>
          <p:cNvSpPr txBox="1"/>
          <p:nvPr/>
        </p:nvSpPr>
        <p:spPr>
          <a:xfrm>
            <a:off x="525729" y="4268489"/>
            <a:ext cx="6662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  <a:sym typeface="Century Gothic" panose="020B0502020202020204" pitchFamily="34" charset="0"/>
              </a:rPr>
              <a:t>Dati 2022</a:t>
            </a:r>
          </a:p>
        </p:txBody>
      </p:sp>
      <p:cxnSp>
        <p:nvCxnSpPr>
          <p:cNvPr id="50" name="Connettore 1 34">
            <a:extLst>
              <a:ext uri="{FF2B5EF4-FFF2-40B4-BE49-F238E27FC236}">
                <a16:creationId xmlns:a16="http://schemas.microsoft.com/office/drawing/2014/main" id="{C4ED6A1D-3EA0-4522-B1AB-6157A365F5E4}"/>
              </a:ext>
            </a:extLst>
          </p:cNvPr>
          <p:cNvCxnSpPr>
            <a:cxnSpLocks/>
          </p:cNvCxnSpPr>
          <p:nvPr/>
        </p:nvCxnSpPr>
        <p:spPr>
          <a:xfrm>
            <a:off x="532790" y="3498390"/>
            <a:ext cx="11177443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34">
            <a:extLst>
              <a:ext uri="{FF2B5EF4-FFF2-40B4-BE49-F238E27FC236}">
                <a16:creationId xmlns:a16="http://schemas.microsoft.com/office/drawing/2014/main" id="{35894B3A-F246-4936-966B-188C39E71492}"/>
              </a:ext>
            </a:extLst>
          </p:cNvPr>
          <p:cNvCxnSpPr>
            <a:cxnSpLocks/>
          </p:cNvCxnSpPr>
          <p:nvPr/>
        </p:nvCxnSpPr>
        <p:spPr>
          <a:xfrm>
            <a:off x="515504" y="4423792"/>
            <a:ext cx="11177443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tangolo 51">
            <a:extLst>
              <a:ext uri="{FF2B5EF4-FFF2-40B4-BE49-F238E27FC236}">
                <a16:creationId xmlns:a16="http://schemas.microsoft.com/office/drawing/2014/main" id="{A7FD869A-55E5-4288-847A-EBB9D4608563}"/>
              </a:ext>
            </a:extLst>
          </p:cNvPr>
          <p:cNvSpPr/>
          <p:nvPr/>
        </p:nvSpPr>
        <p:spPr>
          <a:xfrm>
            <a:off x="2523926" y="4457673"/>
            <a:ext cx="2528583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00" b="1">
                <a:solidFill>
                  <a:srgbClr val="406B9B"/>
                </a:solidFill>
                <a:latin typeface="Century Gothic"/>
              </a:rPr>
              <a:t>420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PROGETTI VALIDATI </a:t>
            </a:r>
            <a:br>
              <a:rPr lang="it-IT" sz="1000">
                <a:solidFill>
                  <a:srgbClr val="000000"/>
                </a:solidFill>
                <a:latin typeface="Century Gothic"/>
              </a:rPr>
            </a:br>
            <a:r>
              <a:rPr lang="it-IT" sz="1000">
                <a:solidFill>
                  <a:srgbClr val="000000"/>
                </a:solidFill>
                <a:latin typeface="Century Gothic"/>
              </a:rPr>
              <a:t>PER PLAFOND CE </a:t>
            </a:r>
            <a:endParaRPr lang="it-IT" sz="1000" b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05254FF3-1CA5-484F-A639-4A1EE11F6587}"/>
              </a:ext>
            </a:extLst>
          </p:cNvPr>
          <p:cNvSpPr/>
          <p:nvPr/>
        </p:nvSpPr>
        <p:spPr>
          <a:xfrm>
            <a:off x="5414812" y="4457673"/>
            <a:ext cx="2837323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+</a:t>
            </a:r>
            <a:r>
              <a:rPr lang="it-IT" sz="2800" b="1">
                <a:solidFill>
                  <a:srgbClr val="406B9B"/>
                </a:solidFill>
                <a:latin typeface="Century Gothic"/>
              </a:rPr>
              <a:t>9</a:t>
            </a:r>
            <a:r>
              <a:rPr lang="it-IT" sz="2041" b="1">
                <a:solidFill>
                  <a:srgbClr val="406B9B"/>
                </a:solidFill>
                <a:latin typeface="Century Gothic"/>
              </a:rPr>
              <a:t>mld/€</a:t>
            </a:r>
            <a:endParaRPr lang="it-IT" sz="1000" b="1">
              <a:solidFill>
                <a:srgbClr val="406B9B"/>
              </a:solidFill>
              <a:latin typeface="Century Gothic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FINANZIAMENTI VALIDATI </a:t>
            </a:r>
            <a:br>
              <a:rPr lang="it-IT" sz="1000">
                <a:solidFill>
                  <a:srgbClr val="000000"/>
                </a:solidFill>
                <a:latin typeface="Century Gothic"/>
              </a:rPr>
            </a:br>
            <a:r>
              <a:rPr lang="it-IT" sz="1000">
                <a:solidFill>
                  <a:srgbClr val="000000"/>
                </a:solidFill>
                <a:latin typeface="Century Gothic"/>
              </a:rPr>
              <a:t>SU PLAFOND CE</a:t>
            </a:r>
            <a:endParaRPr lang="it-IT" sz="10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17B4D042-7F29-4B42-8598-66009675C637}"/>
              </a:ext>
            </a:extLst>
          </p:cNvPr>
          <p:cNvSpPr/>
          <p:nvPr/>
        </p:nvSpPr>
        <p:spPr>
          <a:xfrm>
            <a:off x="8674806" y="4683797"/>
            <a:ext cx="3060020" cy="27890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3265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id="{B2C9EF0F-D014-4EBE-BF04-5CF6A543136F}"/>
              </a:ext>
            </a:extLst>
          </p:cNvPr>
          <p:cNvSpPr/>
          <p:nvPr/>
        </p:nvSpPr>
        <p:spPr>
          <a:xfrm>
            <a:off x="518749" y="4457673"/>
            <a:ext cx="1670103" cy="90000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CIRCULAR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ECONOMY</a:t>
            </a:r>
            <a:endParaRPr lang="it-IT" sz="1071" b="1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Connettore 1 69">
            <a:extLst>
              <a:ext uri="{FF2B5EF4-FFF2-40B4-BE49-F238E27FC236}">
                <a16:creationId xmlns:a16="http://schemas.microsoft.com/office/drawing/2014/main" id="{00502BE9-B7F1-48F2-958F-E778ECC171AB}"/>
              </a:ext>
            </a:extLst>
          </p:cNvPr>
          <p:cNvCxnSpPr>
            <a:cxnSpLocks/>
          </p:cNvCxnSpPr>
          <p:nvPr/>
        </p:nvCxnSpPr>
        <p:spPr>
          <a:xfrm>
            <a:off x="521794" y="5367100"/>
            <a:ext cx="11190730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ttangolo 87">
            <a:extLst>
              <a:ext uri="{FF2B5EF4-FFF2-40B4-BE49-F238E27FC236}">
                <a16:creationId xmlns:a16="http://schemas.microsoft.com/office/drawing/2014/main" id="{CB65D559-C9FB-4139-8575-42ECF68DAB65}"/>
              </a:ext>
            </a:extLst>
          </p:cNvPr>
          <p:cNvSpPr/>
          <p:nvPr/>
        </p:nvSpPr>
        <p:spPr>
          <a:xfrm>
            <a:off x="2832386" y="5368716"/>
            <a:ext cx="1776594" cy="900000"/>
          </a:xfrm>
          <a:prstGeom prst="rect">
            <a:avLst/>
          </a:prstGeom>
        </p:spPr>
        <p:txBody>
          <a:bodyPr wrap="square" lIns="93297" tIns="46649" rIns="93297" bIns="46649" anchor="t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00" b="1">
                <a:solidFill>
                  <a:srgbClr val="406B9B"/>
                </a:solidFill>
                <a:latin typeface="Century Gothic"/>
              </a:rPr>
              <a:t>32</a:t>
            </a:r>
            <a:endParaRPr lang="it-IT" sz="2800" b="1" baseline="90000">
              <a:solidFill>
                <a:srgbClr val="406B9B"/>
              </a:solidFill>
              <a:latin typeface="Century Gothic"/>
              <a:sym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EVENTI DI INNOVAZIONE </a:t>
            </a:r>
            <a:br>
              <a:rPr lang="it-IT" sz="1000">
                <a:solidFill>
                  <a:srgbClr val="000000"/>
                </a:solidFill>
                <a:latin typeface="Century Gothic"/>
              </a:rPr>
            </a:br>
            <a:r>
              <a:rPr lang="it-IT" sz="1000">
                <a:solidFill>
                  <a:srgbClr val="000000"/>
                </a:solidFill>
                <a:latin typeface="Century Gothic"/>
              </a:rPr>
              <a:t>E POSIZIONAMENTO</a:t>
            </a:r>
            <a:endParaRPr lang="it-IT" sz="1000" b="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89" name="Rettangolo 88">
            <a:extLst>
              <a:ext uri="{FF2B5EF4-FFF2-40B4-BE49-F238E27FC236}">
                <a16:creationId xmlns:a16="http://schemas.microsoft.com/office/drawing/2014/main" id="{F83CDACB-C220-4849-8F1B-5DCD4474EF55}"/>
              </a:ext>
            </a:extLst>
          </p:cNvPr>
          <p:cNvSpPr/>
          <p:nvPr/>
        </p:nvSpPr>
        <p:spPr>
          <a:xfrm>
            <a:off x="518749" y="5368716"/>
            <a:ext cx="2468467" cy="90000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IDENTITY </a:t>
            </a:r>
            <a:b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</a:b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</a:rPr>
              <a:t>&amp; CULTURE</a:t>
            </a:r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A6D8685E-EC99-4218-A92A-C53773A34C30}"/>
              </a:ext>
            </a:extLst>
          </p:cNvPr>
          <p:cNvSpPr txBox="1"/>
          <p:nvPr/>
        </p:nvSpPr>
        <p:spPr>
          <a:xfrm>
            <a:off x="6078984" y="5368716"/>
            <a:ext cx="1508979" cy="6764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~</a:t>
            </a:r>
            <a:r>
              <a:rPr lang="it-IT" sz="2800" b="1">
                <a:solidFill>
                  <a:srgbClr val="406B9B"/>
                </a:solidFill>
                <a:latin typeface="Century Gothic"/>
                <a:cs typeface="Arial"/>
              </a:rPr>
              <a:t>2.200</a:t>
            </a:r>
            <a:endParaRPr lang="it-IT" sz="2800" b="1" baseline="90000">
              <a:solidFill>
                <a:srgbClr val="406B9B"/>
              </a:solidFill>
              <a:latin typeface="Century Gothic"/>
              <a:cs typeface="Arial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000000"/>
                </a:solidFill>
                <a:latin typeface="Century Gothic"/>
              </a:rPr>
              <a:t>PARTECIPANTI</a:t>
            </a:r>
          </a:p>
        </p:txBody>
      </p:sp>
      <p:sp>
        <p:nvSpPr>
          <p:cNvPr id="91" name="CasellaDiTesto 14">
            <a:extLst>
              <a:ext uri="{FF2B5EF4-FFF2-40B4-BE49-F238E27FC236}">
                <a16:creationId xmlns:a16="http://schemas.microsoft.com/office/drawing/2014/main" id="{85A6C902-B2ED-4548-A9F7-56998C299EA5}"/>
              </a:ext>
            </a:extLst>
          </p:cNvPr>
          <p:cNvSpPr txBox="1"/>
          <p:nvPr/>
        </p:nvSpPr>
        <p:spPr>
          <a:xfrm>
            <a:off x="518749" y="5213673"/>
            <a:ext cx="6662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2022</a:t>
            </a:r>
          </a:p>
        </p:txBody>
      </p:sp>
      <p:sp>
        <p:nvSpPr>
          <p:cNvPr id="92" name="CasellaDiTesto 14">
            <a:extLst>
              <a:ext uri="{FF2B5EF4-FFF2-40B4-BE49-F238E27FC236}">
                <a16:creationId xmlns:a16="http://schemas.microsoft.com/office/drawing/2014/main" id="{4F94460B-4067-40DA-A48B-3BAAAE38BCAB}"/>
              </a:ext>
            </a:extLst>
          </p:cNvPr>
          <p:cNvSpPr txBox="1"/>
          <p:nvPr/>
        </p:nvSpPr>
        <p:spPr>
          <a:xfrm>
            <a:off x="518749" y="6124716"/>
            <a:ext cx="6662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2022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765419CE-F2B1-57FB-27FA-469A73985E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</p:spPr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I numeri di Intesa Sanpaolo Innovation Center</a:t>
            </a:r>
          </a:p>
        </p:txBody>
      </p:sp>
    </p:spTree>
    <p:extLst>
      <p:ext uri="{BB962C8B-B14F-4D97-AF65-F5344CB8AC3E}">
        <p14:creationId xmlns:p14="http://schemas.microsoft.com/office/powerpoint/2010/main" val="1822193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it-IT"/>
              <a:t>Il percorso verso Intesa Sanpaolo Innovation Center </a:t>
            </a:r>
            <a:r>
              <a:rPr lang="it-IT" err="1"/>
              <a:t>S.p.A</a:t>
            </a:r>
            <a:endParaRPr lang="en-US">
              <a:solidFill>
                <a:schemeClr val="accent1"/>
              </a:solidFill>
            </a:endParaRPr>
          </a:p>
        </p:txBody>
      </p:sp>
      <p:cxnSp>
        <p:nvCxnSpPr>
          <p:cNvPr id="6" name="Connettore 1 5"/>
          <p:cNvCxnSpPr/>
          <p:nvPr/>
        </p:nvCxnSpPr>
        <p:spPr>
          <a:xfrm>
            <a:off x="585059" y="2148486"/>
            <a:ext cx="10779162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o 1">
            <a:extLst>
              <a:ext uri="{FF2B5EF4-FFF2-40B4-BE49-F238E27FC236}">
                <a16:creationId xmlns:a16="http://schemas.microsoft.com/office/drawing/2014/main" id="{5EE06764-7129-4547-BB64-15A4837C89FC}"/>
              </a:ext>
            </a:extLst>
          </p:cNvPr>
          <p:cNvGrpSpPr/>
          <p:nvPr/>
        </p:nvGrpSpPr>
        <p:grpSpPr>
          <a:xfrm>
            <a:off x="531367" y="1275558"/>
            <a:ext cx="3328671" cy="3688729"/>
            <a:chOff x="520700" y="1968331"/>
            <a:chExt cx="3262406" cy="3615296"/>
          </a:xfrm>
        </p:grpSpPr>
        <p:cxnSp>
          <p:nvCxnSpPr>
            <p:cNvPr id="34" name="Straight Connector 84">
              <a:extLst>
                <a:ext uri="{FF2B5EF4-FFF2-40B4-BE49-F238E27FC236}">
                  <a16:creationId xmlns:a16="http://schemas.microsoft.com/office/drawing/2014/main" id="{D02D3043-B9B2-47ED-970F-51F608259A53}"/>
                </a:ext>
              </a:extLst>
            </p:cNvPr>
            <p:cNvCxnSpPr>
              <a:cxnSpLocks/>
            </p:cNvCxnSpPr>
            <p:nvPr/>
          </p:nvCxnSpPr>
          <p:spPr>
            <a:xfrm>
              <a:off x="594466" y="2828388"/>
              <a:ext cx="0" cy="317685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520700" y="3219838"/>
              <a:ext cx="3262406" cy="236378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224">
                  <a:solidFill>
                    <a:srgbClr val="406B9B"/>
                  </a:solidFill>
                  <a:latin typeface="Century Gothic" panose="020B0502020202020204" pitchFamily="34" charset="0"/>
                </a:rPr>
                <a:t>Maggio 2014</a:t>
              </a:r>
              <a:endParaRPr lang="it-IT" sz="2041" b="1">
                <a:solidFill>
                  <a:srgbClr val="003A79"/>
                </a:solidFill>
                <a:latin typeface="Century Gothic" panose="020B0502020202020204" pitchFamily="34" charset="0"/>
              </a:endParaRP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2041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Santa Teresa 9</a:t>
              </a:r>
              <a:br>
                <a:rPr lang="it-IT" sz="2041" b="1">
                  <a:solidFill>
                    <a:srgbClr val="003A79"/>
                  </a:solidFill>
                  <a:latin typeface="Century Gothic" panose="020B0502020202020204" pitchFamily="34" charset="0"/>
                </a:rPr>
              </a:br>
              <a:endParaRPr lang="it-IT" sz="1428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Aggregazione di diverse strutture del Gruppo per la gestione coerente e completa dei 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bisogni di innovazione del Gruppo</a:t>
              </a:r>
              <a:endParaRPr lang="it-IT" sz="1428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Spazio di 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studio</a:t>
              </a: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 e 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sperimentazione</a:t>
              </a: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 con sede in una ex Filiale</a:t>
              </a:r>
            </a:p>
          </p:txBody>
        </p:sp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6391BF6C-14BF-4A1A-A0F1-9501B3B84A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0700" y="1968331"/>
              <a:ext cx="1207696" cy="56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TitleTrackerNum 6">
              <a:extLst>
                <a:ext uri="{FF2B5EF4-FFF2-40B4-BE49-F238E27FC236}">
                  <a16:creationId xmlns:a16="http://schemas.microsoft.com/office/drawing/2014/main" id="{CC6E41E8-8F15-4B62-A99F-FEF8C3879159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520700" y="2750116"/>
              <a:ext cx="147532" cy="147532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2041" b="1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5" name="Gruppo 4">
            <a:extLst>
              <a:ext uri="{FF2B5EF4-FFF2-40B4-BE49-F238E27FC236}">
                <a16:creationId xmlns:a16="http://schemas.microsoft.com/office/drawing/2014/main" id="{4146A463-27A0-AA4D-B2E3-66546C71BAC1}"/>
              </a:ext>
            </a:extLst>
          </p:cNvPr>
          <p:cNvGrpSpPr/>
          <p:nvPr/>
        </p:nvGrpSpPr>
        <p:grpSpPr>
          <a:xfrm>
            <a:off x="8437448" y="1301650"/>
            <a:ext cx="3105899" cy="3427085"/>
            <a:chOff x="8269391" y="1982328"/>
            <a:chExt cx="3044069" cy="3358861"/>
          </a:xfrm>
        </p:grpSpPr>
        <p:cxnSp>
          <p:nvCxnSpPr>
            <p:cNvPr id="36" name="Straight Connector 84">
              <a:extLst>
                <a:ext uri="{FF2B5EF4-FFF2-40B4-BE49-F238E27FC236}">
                  <a16:creationId xmlns:a16="http://schemas.microsoft.com/office/drawing/2014/main" id="{D02D3043-B9B2-47ED-970F-51F608259A53}"/>
                </a:ext>
              </a:extLst>
            </p:cNvPr>
            <p:cNvCxnSpPr>
              <a:cxnSpLocks/>
            </p:cNvCxnSpPr>
            <p:nvPr/>
          </p:nvCxnSpPr>
          <p:spPr>
            <a:xfrm>
              <a:off x="8347977" y="2835183"/>
              <a:ext cx="0" cy="317685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4"/>
            <p:cNvSpPr txBox="1"/>
            <p:nvPr/>
          </p:nvSpPr>
          <p:spPr>
            <a:xfrm>
              <a:off x="8274212" y="3179763"/>
              <a:ext cx="3039248" cy="2161426"/>
            </a:xfrm>
            <a:prstGeom prst="rect">
              <a:avLst/>
            </a:prstGeom>
            <a:noFill/>
          </p:spPr>
          <p:txBody>
            <a:bodyPr wrap="square" lIns="0" tIns="46649" rIns="0" bIns="46649" rtlCol="0" anchor="t">
              <a:spAutoFit/>
            </a:bodyPr>
            <a:lstStyle/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224">
                  <a:solidFill>
                    <a:srgbClr val="406B9B"/>
                  </a:solidFill>
                  <a:latin typeface="Century Gothic" panose="020B0502020202020204" pitchFamily="34" charset="0"/>
                </a:rPr>
                <a:t>Marzo 2018</a:t>
              </a: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2041" b="1">
                  <a:solidFill>
                    <a:srgbClr val="003A79"/>
                  </a:solidFill>
                  <a:latin typeface="Century Gothic"/>
                </a:rPr>
                <a:t>Intesa Sanpaolo Innovation Center</a:t>
              </a:r>
              <a:endParaRPr lang="it-IT" sz="2041">
                <a:solidFill>
                  <a:srgbClr val="003A79"/>
                </a:solidFill>
                <a:latin typeface="Century Gothic"/>
              </a:endParaRPr>
            </a:p>
            <a:p>
              <a:pPr defTabSz="932962" fontAlgn="base">
                <a:spcBef>
                  <a:spcPts val="300"/>
                </a:spcBef>
                <a:spcAft>
                  <a:spcPct val="0"/>
                </a:spcAft>
                <a:buClr>
                  <a:srgbClr val="003A79"/>
                </a:buClr>
              </a:pPr>
              <a:endParaRPr lang="it-IT" sz="1428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defTabSz="932962" fontAlgn="base">
                <a:spcBef>
                  <a:spcPts val="3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428">
                  <a:solidFill>
                    <a:srgbClr val="000000"/>
                  </a:solidFill>
                  <a:latin typeface="Century Gothic"/>
                </a:rPr>
                <a:t>Viene costituita la società</a:t>
              </a:r>
              <a:r>
                <a:rPr lang="it-IT" sz="1428" b="1">
                  <a:solidFill>
                    <a:srgbClr val="003A79"/>
                  </a:solidFill>
                  <a:latin typeface="Century Gothic"/>
                </a:rPr>
                <a:t> </a:t>
              </a:r>
              <a:r>
                <a:rPr lang="it-IT" sz="1428">
                  <a:solidFill>
                    <a:srgbClr val="000000"/>
                  </a:solidFill>
                  <a:latin typeface="Century Gothic"/>
                </a:rPr>
                <a:t>dedicata </a:t>
              </a:r>
              <a:r>
                <a:rPr lang="it-IT" sz="1428" b="1">
                  <a:solidFill>
                    <a:srgbClr val="406B9B"/>
                  </a:solidFill>
                  <a:latin typeface="Century Gothic"/>
                </a:rPr>
                <a:t>all'innovazione</a:t>
              </a:r>
              <a:r>
                <a:rPr lang="it-IT" sz="1428">
                  <a:solidFill>
                    <a:srgbClr val="000000"/>
                  </a:solidFill>
                  <a:latin typeface="Century Gothic"/>
                </a:rPr>
                <a:t> </a:t>
              </a:r>
              <a:r>
                <a:rPr lang="it-IT" sz="1428" b="1">
                  <a:solidFill>
                    <a:srgbClr val="406B9B"/>
                  </a:solidFill>
                  <a:latin typeface="Century Gothic"/>
                </a:rPr>
                <a:t>di lungo periodo </a:t>
              </a:r>
              <a:r>
                <a:rPr lang="it-IT" sz="1428">
                  <a:solidFill>
                    <a:srgbClr val="000000"/>
                  </a:solidFill>
                  <a:latin typeface="Century Gothic"/>
                </a:rPr>
                <a:t>per il Gruppo, i suoi Clienti e il territorio</a:t>
              </a:r>
            </a:p>
          </p:txBody>
        </p:sp>
        <p:pic>
          <p:nvPicPr>
            <p:cNvPr id="18" name="Picture 115">
              <a:extLst>
                <a:ext uri="{FF2B5EF4-FFF2-40B4-BE49-F238E27FC236}">
                  <a16:creationId xmlns:a16="http://schemas.microsoft.com/office/drawing/2014/main" id="{BA4C5377-FF92-4D2E-84EB-E7D083F12C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269391" y="1982328"/>
              <a:ext cx="2408055" cy="351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itleTrackerNum 6">
              <a:extLst>
                <a:ext uri="{FF2B5EF4-FFF2-40B4-BE49-F238E27FC236}">
                  <a16:creationId xmlns:a16="http://schemas.microsoft.com/office/drawing/2014/main" id="{CC6E41E8-8F15-4B62-A99F-FEF8C3879159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8274211" y="2750116"/>
              <a:ext cx="147532" cy="147532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2041" b="1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cxnSp>
        <p:nvCxnSpPr>
          <p:cNvPr id="24" name="Connettore 1 23"/>
          <p:cNvCxnSpPr/>
          <p:nvPr/>
        </p:nvCxnSpPr>
        <p:spPr>
          <a:xfrm>
            <a:off x="11364221" y="2148745"/>
            <a:ext cx="827690" cy="0"/>
          </a:xfrm>
          <a:prstGeom prst="line">
            <a:avLst/>
          </a:prstGeom>
          <a:ln>
            <a:solidFill>
              <a:srgbClr val="406B9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o 6">
            <a:extLst>
              <a:ext uri="{FF2B5EF4-FFF2-40B4-BE49-F238E27FC236}">
                <a16:creationId xmlns:a16="http://schemas.microsoft.com/office/drawing/2014/main" id="{07D9AD45-5E0C-C942-A869-BF23407C0691}"/>
              </a:ext>
            </a:extLst>
          </p:cNvPr>
          <p:cNvGrpSpPr/>
          <p:nvPr/>
        </p:nvGrpSpPr>
        <p:grpSpPr>
          <a:xfrm>
            <a:off x="4705301" y="5466043"/>
            <a:ext cx="2746384" cy="657962"/>
            <a:chOff x="4611542" y="5357228"/>
            <a:chExt cx="3029389" cy="725763"/>
          </a:xfrm>
        </p:grpSpPr>
        <p:sp>
          <p:nvSpPr>
            <p:cNvPr id="25" name="TextBox 14">
              <a:extLst>
                <a:ext uri="{FF2B5EF4-FFF2-40B4-BE49-F238E27FC236}">
                  <a16:creationId xmlns:a16="http://schemas.microsoft.com/office/drawing/2014/main" id="{CA90586B-1CB7-7344-A0F8-26A6528D5573}"/>
                </a:ext>
              </a:extLst>
            </p:cNvPr>
            <p:cNvSpPr txBox="1"/>
            <p:nvPr/>
          </p:nvSpPr>
          <p:spPr>
            <a:xfrm>
              <a:off x="4611542" y="5767057"/>
              <a:ext cx="2912663" cy="31593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224">
                  <a:solidFill>
                    <a:srgbClr val="406B9B"/>
                  </a:solidFill>
                  <a:latin typeface="Century Gothic" panose="020B0502020202020204" pitchFamily="34" charset="0"/>
                </a:rPr>
                <a:t>Aprile 2016 </a:t>
              </a:r>
            </a:p>
          </p:txBody>
        </p:sp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AD5BD5B2-D7CB-604D-B74F-7BD04653C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11542" y="5357228"/>
              <a:ext cx="3029389" cy="293505"/>
            </a:xfrm>
            <a:prstGeom prst="rect">
              <a:avLst/>
            </a:prstGeom>
          </p:spPr>
        </p:pic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07A403C7-B1E2-6A45-BC78-F320CADEA05C}"/>
              </a:ext>
            </a:extLst>
          </p:cNvPr>
          <p:cNvGrpSpPr/>
          <p:nvPr/>
        </p:nvGrpSpPr>
        <p:grpSpPr>
          <a:xfrm>
            <a:off x="8391550" y="5397600"/>
            <a:ext cx="2732297" cy="716547"/>
            <a:chOff x="8224409" y="5290150"/>
            <a:chExt cx="3013852" cy="790385"/>
          </a:xfrm>
        </p:grpSpPr>
        <p:pic>
          <p:nvPicPr>
            <p:cNvPr id="10" name="Immagine 9" descr="Immagine che contiene testo, segnale&#10;&#10;Descrizione generata automaticamente">
              <a:extLst>
                <a:ext uri="{FF2B5EF4-FFF2-40B4-BE49-F238E27FC236}">
                  <a16:creationId xmlns:a16="http://schemas.microsoft.com/office/drawing/2014/main" id="{180BCA92-105A-0D40-8E7A-CDB2D207E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24409" y="5290150"/>
              <a:ext cx="1673263" cy="405871"/>
            </a:xfrm>
            <a:prstGeom prst="rect">
              <a:avLst/>
            </a:prstGeom>
          </p:spPr>
        </p:pic>
        <p:sp>
          <p:nvSpPr>
            <p:cNvPr id="27" name="TextBox 14">
              <a:extLst>
                <a:ext uri="{FF2B5EF4-FFF2-40B4-BE49-F238E27FC236}">
                  <a16:creationId xmlns:a16="http://schemas.microsoft.com/office/drawing/2014/main" id="{B3CB4BA8-F3B9-4747-B3E6-DBAA15C51DF2}"/>
                </a:ext>
              </a:extLst>
            </p:cNvPr>
            <p:cNvSpPr txBox="1"/>
            <p:nvPr/>
          </p:nvSpPr>
          <p:spPr>
            <a:xfrm>
              <a:off x="8310347" y="5764600"/>
              <a:ext cx="2927914" cy="31593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951901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224">
                  <a:solidFill>
                    <a:srgbClr val="406B9B"/>
                  </a:solidFill>
                  <a:latin typeface="Century Gothic" panose="020B0502020202020204" pitchFamily="34" charset="0"/>
                </a:rPr>
                <a:t>Maggio 2020</a:t>
              </a:r>
            </a:p>
          </p:txBody>
        </p:sp>
      </p:grp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BC4C8D2A-873C-A944-8309-39CA5B5BBD85}"/>
              </a:ext>
            </a:extLst>
          </p:cNvPr>
          <p:cNvGrpSpPr/>
          <p:nvPr/>
        </p:nvGrpSpPr>
        <p:grpSpPr>
          <a:xfrm>
            <a:off x="4614880" y="1059482"/>
            <a:ext cx="3271764" cy="4088118"/>
            <a:chOff x="4522921" y="1756557"/>
            <a:chExt cx="3206632" cy="4006734"/>
          </a:xfrm>
        </p:grpSpPr>
        <p:cxnSp>
          <p:nvCxnSpPr>
            <p:cNvPr id="29" name="Straight Connector 84">
              <a:extLst>
                <a:ext uri="{FF2B5EF4-FFF2-40B4-BE49-F238E27FC236}">
                  <a16:creationId xmlns:a16="http://schemas.microsoft.com/office/drawing/2014/main" id="{96EBDB03-5D0A-BE4C-8C2A-2E2EE1D20CF2}"/>
                </a:ext>
              </a:extLst>
            </p:cNvPr>
            <p:cNvCxnSpPr>
              <a:cxnSpLocks/>
            </p:cNvCxnSpPr>
            <p:nvPr/>
          </p:nvCxnSpPr>
          <p:spPr>
            <a:xfrm>
              <a:off x="4704651" y="2821945"/>
              <a:ext cx="0" cy="317685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o 31">
              <a:extLst>
                <a:ext uri="{FF2B5EF4-FFF2-40B4-BE49-F238E27FC236}">
                  <a16:creationId xmlns:a16="http://schemas.microsoft.com/office/drawing/2014/main" id="{BD97F5DC-8F4C-3449-9F23-9456B882358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19053" y="1756557"/>
              <a:ext cx="1507184" cy="849308"/>
              <a:chOff x="21769065" y="12316888"/>
              <a:chExt cx="1921213" cy="1082616"/>
            </a:xfrm>
            <a:solidFill>
              <a:schemeClr val="bg1"/>
            </a:solidFill>
          </p:grpSpPr>
          <p:pic>
            <p:nvPicPr>
              <p:cNvPr id="39" name="image1.png">
                <a:extLst>
                  <a:ext uri="{FF2B5EF4-FFF2-40B4-BE49-F238E27FC236}">
                    <a16:creationId xmlns:a16="http://schemas.microsoft.com/office/drawing/2014/main" id="{10F52BCF-B7A8-C44F-9472-424AF58F76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769065" y="13139628"/>
                <a:ext cx="1842241" cy="259876"/>
              </a:xfrm>
              <a:prstGeom prst="rect">
                <a:avLst/>
              </a:prstGeom>
              <a:grpFill/>
              <a:ln w="12700">
                <a:miter lim="400000"/>
              </a:ln>
            </p:spPr>
          </p:pic>
          <p:pic>
            <p:nvPicPr>
              <p:cNvPr id="40" name="image2.png">
                <a:extLst>
                  <a:ext uri="{FF2B5EF4-FFF2-40B4-BE49-F238E27FC236}">
                    <a16:creationId xmlns:a16="http://schemas.microsoft.com/office/drawing/2014/main" id="{50F6C6BC-71B4-A641-84B1-34FED4ECA88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818068" y="12316888"/>
                <a:ext cx="1872210" cy="787357"/>
              </a:xfrm>
              <a:prstGeom prst="rect">
                <a:avLst/>
              </a:prstGeom>
              <a:grpFill/>
              <a:ln w="12700">
                <a:miter lim="400000"/>
              </a:ln>
            </p:spPr>
          </p:pic>
        </p:grpSp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28B9D2BC-5965-DF41-A7CD-202EA0C8CAD6}"/>
                </a:ext>
              </a:extLst>
            </p:cNvPr>
            <p:cNvSpPr/>
            <p:nvPr/>
          </p:nvSpPr>
          <p:spPr>
            <a:xfrm>
              <a:off x="4522921" y="3179763"/>
              <a:ext cx="3206632" cy="2583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224">
                  <a:solidFill>
                    <a:srgbClr val="406B9B"/>
                  </a:solidFill>
                  <a:latin typeface="Century Gothic" panose="020B0502020202020204" pitchFamily="34" charset="0"/>
                </a:rPr>
                <a:t>Aprile 2015</a:t>
              </a: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2041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Area CIO</a:t>
              </a:r>
              <a:br>
                <a:rPr lang="it-IT" sz="2041" b="1">
                  <a:solidFill>
                    <a:srgbClr val="003A79"/>
                  </a:solidFill>
                  <a:latin typeface="Century Gothic" panose="020B0502020202020204" pitchFamily="34" charset="0"/>
                </a:rPr>
              </a:br>
              <a:endParaRPr lang="it-IT" sz="1428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Nasce l’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Area di Governo </a:t>
              </a:r>
              <a:r>
                <a:rPr lang="it-IT" sz="1428" b="1" err="1">
                  <a:solidFill>
                    <a:srgbClr val="406B9B"/>
                  </a:solidFill>
                  <a:latin typeface="Century Gothic" panose="020B0502020202020204" pitchFamily="34" charset="0"/>
                </a:rPr>
                <a:t>Chief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 </a:t>
              </a:r>
              <a:r>
                <a:rPr lang="it-IT" sz="1428" b="1" err="1">
                  <a:solidFill>
                    <a:srgbClr val="406B9B"/>
                  </a:solidFill>
                  <a:latin typeface="Century Gothic" panose="020B0502020202020204" pitchFamily="34" charset="0"/>
                </a:rPr>
                <a:t>Innovation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 </a:t>
              </a:r>
              <a:r>
                <a:rPr lang="it-IT" sz="1428" b="1" err="1">
                  <a:solidFill>
                    <a:srgbClr val="406B9B"/>
                  </a:solidFill>
                  <a:latin typeface="Century Gothic" panose="020B0502020202020204" pitchFamily="34" charset="0"/>
                </a:rPr>
                <a:t>Officer</a:t>
              </a:r>
              <a:r>
                <a:rPr lang="it-IT" sz="1428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 </a:t>
              </a: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che potenzia la </a:t>
              </a:r>
              <a:r>
                <a:rPr lang="it-IT" sz="1428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governance</a:t>
              </a: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 strategica del Gruppo rispetto alle diverse iniziative di Innovazione. </a:t>
              </a:r>
            </a:p>
            <a:p>
              <a:pPr defTabSz="932962" fontAlgn="base">
                <a:spcBef>
                  <a:spcPts val="60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428">
                  <a:solidFill>
                    <a:srgbClr val="000000"/>
                  </a:solidFill>
                  <a:latin typeface="Century Gothic" panose="020B0502020202020204" pitchFamily="34" charset="0"/>
                </a:rPr>
                <a:t>La sede diventa il 31esimo piano del Grattacielo di Torino</a:t>
              </a:r>
            </a:p>
          </p:txBody>
        </p:sp>
        <p:sp>
          <p:nvSpPr>
            <p:cNvPr id="38" name="TitleTrackerNum 6">
              <a:extLst>
                <a:ext uri="{FF2B5EF4-FFF2-40B4-BE49-F238E27FC236}">
                  <a16:creationId xmlns:a16="http://schemas.microsoft.com/office/drawing/2014/main" id="{E040A79B-D3E3-194A-8C34-9DB989478C8A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4630885" y="2750116"/>
              <a:ext cx="147532" cy="147532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2041" b="1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76489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85"/>
          <a:stretch/>
        </p:blipFill>
        <p:spPr>
          <a:xfrm>
            <a:off x="4768839" y="-14086"/>
            <a:ext cx="7423071" cy="6249322"/>
          </a:xfrm>
          <a:prstGeom prst="parallelogram">
            <a:avLst>
              <a:gd name="adj" fmla="val 0"/>
            </a:avLst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C8E06C-C906-4ACC-BD55-86E6D06DBD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C8E06C-C906-4ACC-BD55-86E6D06D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E12B6D-88BE-4300-8EBA-1DCD497E8A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449" b="1" err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2" name="Shape 236" descr="Perché vogliamo costruire insieme un futuro che metta al centro le persone e i loro bisogni, un futuro dove crescita economica e crescita sociale vadano di pari passo."/>
          <p:cNvSpPr/>
          <p:nvPr/>
        </p:nvSpPr>
        <p:spPr>
          <a:xfrm>
            <a:off x="966750" y="2378186"/>
            <a:ext cx="3802090" cy="2935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731" tIns="25400" rIns="25400" bIns="25400" anchor="ctr">
            <a:spAutoFit/>
          </a:bodyPr>
          <a:lstStyle/>
          <a:p>
            <a:pPr defTabSz="60953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Perché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vogliam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costruire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insieme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un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futur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che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metta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</a:t>
            </a:r>
            <a:br>
              <a:rPr lang="it-IT"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</a:b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al </a:t>
            </a: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centro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le </a:t>
            </a: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persone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b="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e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i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lor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sz="1840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bisogni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, </a:t>
            </a:r>
            <a:br>
              <a:rPr lang="it-IT"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</a:b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un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futur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dove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crescita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economica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b="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e </a:t>
            </a: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crescita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r>
              <a:rPr sz="2041" b="1" i="1" err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sociale</a:t>
            </a:r>
            <a:r>
              <a:rPr sz="2041" b="1" i="1">
                <a:solidFill>
                  <a:srgbClr val="406B9B"/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  <a:t> </a:t>
            </a:r>
            <a:br>
              <a:rPr lang="it-IT" sz="2041" b="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Bold"/>
                <a:cs typeface="Open Sans Bold"/>
                <a:sym typeface="Open Sans Bold"/>
              </a:rPr>
            </a:b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vadan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di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pari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sz="2041" i="1" err="1">
                <a:solidFill>
                  <a:srgbClr val="000000">
                    <a:lumMod val="95000"/>
                    <a:lumOff val="5000"/>
                  </a:srgbClr>
                </a:solidFill>
                <a:latin typeface="Century Gothic" panose="020B0502020202020204" pitchFamily="34" charset="0"/>
                <a:ea typeface="Open Sans Light"/>
                <a:cs typeface="Open Sans Light"/>
                <a:sym typeface="Open Sans Light"/>
              </a:rPr>
              <a:t>passo</a:t>
            </a:r>
            <a:r>
              <a:rPr sz="2041" i="1">
                <a:solidFill>
                  <a:srgbClr val="000000">
                    <a:lumMod val="95000"/>
                    <a:lumOff val="5000"/>
                  </a:srgbClr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 </a:t>
            </a:r>
          </a:p>
        </p:txBody>
      </p:sp>
      <p:sp>
        <p:nvSpPr>
          <p:cNvPr id="3" name="Titolo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Perché facciamo </a:t>
            </a:r>
            <a:br>
              <a:rPr lang="it-IT">
                <a:solidFill>
                  <a:schemeClr val="tx2"/>
                </a:solidFill>
              </a:rPr>
            </a:br>
            <a:r>
              <a:rPr lang="it-IT">
                <a:solidFill>
                  <a:schemeClr val="tx2"/>
                </a:solidFill>
              </a:rPr>
              <a:t>tutto questo?</a:t>
            </a:r>
            <a:br>
              <a:rPr lang="it-IT">
                <a:solidFill>
                  <a:schemeClr val="tx2"/>
                </a:solidFill>
              </a:rPr>
            </a:br>
            <a:endParaRPr lang="it-IT">
              <a:solidFill>
                <a:schemeClr val="tx2"/>
              </a:solidFill>
            </a:endParaRPr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>
            <a:off x="544067" y="1821844"/>
            <a:ext cx="664095" cy="664095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 rot="10800000">
            <a:off x="3614076" y="5192972"/>
            <a:ext cx="449750" cy="449750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F3FC39BD-C310-B146-B29D-31FB65BA651D}"/>
              </a:ext>
            </a:extLst>
          </p:cNvPr>
          <p:cNvSpPr/>
          <p:nvPr/>
        </p:nvSpPr>
        <p:spPr>
          <a:xfrm>
            <a:off x="4768037" y="0"/>
            <a:ext cx="4763816" cy="6249322"/>
          </a:xfrm>
          <a:prstGeom prst="rect">
            <a:avLst/>
          </a:prstGeom>
          <a:gradFill>
            <a:gsLst>
              <a:gs pos="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225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endParaRPr lang="it-IT" sz="3467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8" name="Titolo 7">
            <a:extLst>
              <a:ext uri="{FF2B5EF4-FFF2-40B4-BE49-F238E27FC236}">
                <a16:creationId xmlns:a16="http://schemas.microsoft.com/office/drawing/2014/main" id="{99D91FB1-9EF8-A64A-A0D3-3A90152D9C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600"/>
              <a:t>Scenari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9235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90271FCA-9855-01AF-406C-7014A5D83F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pPr marL="184785"/>
            <a:r>
              <a:rPr lang="it-IT"/>
              <a:t>Le opportunità nelle sfide globali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746BEB9-B347-48D8-B98E-CD692781D7C8}"/>
              </a:ext>
            </a:extLst>
          </p:cNvPr>
          <p:cNvSpPr txBox="1"/>
          <p:nvPr/>
        </p:nvSpPr>
        <p:spPr>
          <a:xfrm>
            <a:off x="604820" y="1062193"/>
            <a:ext cx="3456000" cy="10546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CLIMATE CHANGE</a:t>
            </a:r>
          </a:p>
          <a:p>
            <a:pPr algn="just"/>
            <a:br>
              <a:rPr lang="it-IT" sz="1400">
                <a:latin typeface="Century Gothic" panose="020B0502020202020204" pitchFamily="34" charset="0"/>
              </a:rPr>
            </a:br>
            <a:r>
              <a:rPr lang="it-IT" sz="1400">
                <a:latin typeface="Century Gothic" panose="020B0502020202020204" pitchFamily="34" charset="0"/>
              </a:rPr>
              <a:t>La </a:t>
            </a:r>
            <a:r>
              <a:rPr lang="it-IT" sz="1400" b="1">
                <a:latin typeface="Century Gothic" panose="020B0502020202020204" pitchFamily="34" charset="0"/>
              </a:rPr>
              <a:t>sfida climatica </a:t>
            </a:r>
            <a:r>
              <a:rPr lang="it-IT" sz="1400">
                <a:latin typeface="Century Gothic" panose="020B0502020202020204" pitchFamily="34" charset="0"/>
              </a:rPr>
              <a:t>rappresenta oggi uno dei focus primari di Paesi e Governi: dalle </a:t>
            </a:r>
            <a:r>
              <a:rPr lang="it-IT" sz="1400" b="1">
                <a:latin typeface="Century Gothic" panose="020B0502020202020204" pitchFamily="34" charset="0"/>
              </a:rPr>
              <a:t>proteine alternative </a:t>
            </a:r>
            <a:r>
              <a:rPr lang="it-IT" sz="1400">
                <a:latin typeface="Century Gothic" panose="020B0502020202020204" pitchFamily="34" charset="0"/>
              </a:rPr>
              <a:t>al settore dell’</a:t>
            </a:r>
            <a:r>
              <a:rPr lang="it-IT" sz="1400" b="1">
                <a:latin typeface="Century Gothic" panose="020B0502020202020204" pitchFamily="34" charset="0"/>
              </a:rPr>
              <a:t>idrogeno</a:t>
            </a:r>
            <a:r>
              <a:rPr lang="it-IT" sz="1400">
                <a:latin typeface="Century Gothic" panose="020B0502020202020204" pitchFamily="34" charset="0"/>
              </a:rPr>
              <a:t>, dalle tecnologie dell’</a:t>
            </a:r>
            <a:r>
              <a:rPr lang="it-IT" sz="1400" b="1">
                <a:latin typeface="Century Gothic" panose="020B0502020202020204" pitchFamily="34" charset="0"/>
              </a:rPr>
              <a:t>acqua</a:t>
            </a:r>
            <a:r>
              <a:rPr lang="it-IT" sz="1400">
                <a:latin typeface="Century Gothic" panose="020B0502020202020204" pitchFamily="34" charset="0"/>
              </a:rPr>
              <a:t> alla </a:t>
            </a:r>
            <a:r>
              <a:rPr lang="it-IT" sz="1400" b="1">
                <a:latin typeface="Century Gothic" panose="020B0502020202020204" pitchFamily="34" charset="0"/>
              </a:rPr>
              <a:t>rimozione di carbonio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AA820E92-6BCF-B7A2-900E-611656B0C2E0}"/>
              </a:ext>
            </a:extLst>
          </p:cNvPr>
          <p:cNvGrpSpPr/>
          <p:nvPr/>
        </p:nvGrpSpPr>
        <p:grpSpPr>
          <a:xfrm>
            <a:off x="604819" y="5615869"/>
            <a:ext cx="3479296" cy="389672"/>
            <a:chOff x="677004" y="2097944"/>
            <a:chExt cx="6153358" cy="689160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7039AF4C-6A7E-43F6-A93D-97A495201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7004" y="2107467"/>
              <a:ext cx="627020" cy="675592"/>
            </a:xfrm>
            <a:prstGeom prst="rect">
              <a:avLst/>
            </a:prstGeom>
          </p:spPr>
        </p:pic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9B171898-48F2-44E5-ACF1-81019C864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67796" y="2107467"/>
              <a:ext cx="627020" cy="675253"/>
            </a:xfrm>
            <a:prstGeom prst="rect">
              <a:avLst/>
            </a:prstGeom>
          </p:spPr>
        </p:pic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83872681-37B2-4BB5-9A9E-13838BC9E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58588" y="2107467"/>
              <a:ext cx="627020" cy="679272"/>
            </a:xfrm>
            <a:prstGeom prst="rect">
              <a:avLst/>
            </a:prstGeom>
          </p:spPr>
        </p:pic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2F595316-73A1-4EC2-9D1D-A3654766C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49379" y="2107588"/>
              <a:ext cx="627021" cy="674918"/>
            </a:xfrm>
            <a:prstGeom prst="rect">
              <a:avLst/>
            </a:prstGeom>
          </p:spPr>
        </p:pic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BFA8132E-D0D7-460C-ADFA-37210356B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40173" y="2097944"/>
              <a:ext cx="627020" cy="688838"/>
            </a:xfrm>
            <a:prstGeom prst="rect">
              <a:avLst/>
            </a:prstGeom>
          </p:spPr>
        </p:pic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6168B026-05B6-4791-80C0-4AD821AFE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21321" y="2107587"/>
              <a:ext cx="627020" cy="679272"/>
            </a:xfrm>
            <a:prstGeom prst="rect">
              <a:avLst/>
            </a:prstGeom>
          </p:spPr>
        </p:pic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B82B1067-3473-4B5D-BCFC-EFD09E41FF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21759" y="2107467"/>
              <a:ext cx="627020" cy="670866"/>
            </a:xfrm>
            <a:prstGeom prst="rect">
              <a:avLst/>
            </a:prstGeom>
          </p:spPr>
        </p:pic>
        <p:pic>
          <p:nvPicPr>
            <p:cNvPr id="21" name="Immagine 20">
              <a:extLst>
                <a:ext uri="{FF2B5EF4-FFF2-40B4-BE49-F238E27FC236}">
                  <a16:creationId xmlns:a16="http://schemas.microsoft.com/office/drawing/2014/main" id="{F85EDB8E-524A-46C3-AB89-30DE9799F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512551" y="2107467"/>
              <a:ext cx="627020" cy="679637"/>
            </a:xfrm>
            <a:prstGeom prst="rect">
              <a:avLst/>
            </a:prstGeom>
          </p:spPr>
        </p:pic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69A89650-F41B-4CA5-964A-BBB8D1A02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203342" y="2107467"/>
              <a:ext cx="627020" cy="679271"/>
            </a:xfrm>
            <a:prstGeom prst="rect">
              <a:avLst/>
            </a:prstGeom>
          </p:spPr>
        </p:pic>
      </p:grp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BCA2836A-BD34-44E5-834D-61BA07F77D2D}"/>
              </a:ext>
            </a:extLst>
          </p:cNvPr>
          <p:cNvSpPr txBox="1"/>
          <p:nvPr/>
        </p:nvSpPr>
        <p:spPr>
          <a:xfrm>
            <a:off x="4413503" y="1071365"/>
            <a:ext cx="3456000" cy="10972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INTELLIGENZA ARTIFICIALE</a:t>
            </a:r>
          </a:p>
          <a:p>
            <a:pPr algn="just"/>
            <a:br>
              <a:rPr lang="it-IT" sz="1400">
                <a:latin typeface="Century Gothic" panose="020B0502020202020204" pitchFamily="34" charset="0"/>
              </a:rPr>
            </a:br>
            <a:r>
              <a:rPr lang="it-IT" sz="1400">
                <a:latin typeface="Century Gothic" panose="020B0502020202020204" pitchFamily="34" charset="0"/>
              </a:rPr>
              <a:t>L’</a:t>
            </a:r>
            <a:r>
              <a:rPr lang="it-IT" sz="1400" b="1">
                <a:latin typeface="Century Gothic" panose="020B0502020202020204" pitchFamily="34" charset="0"/>
              </a:rPr>
              <a:t>AI </a:t>
            </a:r>
            <a:r>
              <a:rPr lang="it-IT" sz="1400">
                <a:latin typeface="Century Gothic" panose="020B0502020202020204" pitchFamily="34" charset="0"/>
              </a:rPr>
              <a:t>ha ormai mostrato l’impatto trasversale sui più diversi settori industriali, dall’Healthcare ai trasporti, dall’Energy all’</a:t>
            </a:r>
            <a:r>
              <a:rPr lang="it-IT" sz="1400" err="1">
                <a:latin typeface="Century Gothic" panose="020B0502020202020204" pitchFamily="34" charset="0"/>
              </a:rPr>
              <a:t>Education</a:t>
            </a:r>
            <a:r>
              <a:rPr lang="it-IT" sz="1400">
                <a:latin typeface="Century Gothic" panose="020B0502020202020204" pitchFamily="34" charset="0"/>
              </a:rPr>
              <a:t>, in particolar modo con la recente versione </a:t>
            </a:r>
            <a:r>
              <a:rPr lang="it-IT" sz="1400" b="1">
                <a:latin typeface="Century Gothic" panose="020B0502020202020204" pitchFamily="34" charset="0"/>
              </a:rPr>
              <a:t>‘Generativa’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206BDDA-0272-4C72-9454-893E16825198}"/>
              </a:ext>
            </a:extLst>
          </p:cNvPr>
          <p:cNvSpPr txBox="1"/>
          <p:nvPr/>
        </p:nvSpPr>
        <p:spPr>
          <a:xfrm>
            <a:off x="604819" y="6523915"/>
            <a:ext cx="1330117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Fonte: UN, BNEF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9A2789D2-DA7E-424E-92ED-0445A36DD293}"/>
              </a:ext>
            </a:extLst>
          </p:cNvPr>
          <p:cNvSpPr txBox="1"/>
          <p:nvPr/>
        </p:nvSpPr>
        <p:spPr>
          <a:xfrm>
            <a:off x="4630200" y="6523915"/>
            <a:ext cx="23945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Fonte: Accenture, Goldman Sachs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8121FA30-FA62-4700-B09A-50179B9955C3}"/>
              </a:ext>
            </a:extLst>
          </p:cNvPr>
          <p:cNvSpPr txBox="1"/>
          <p:nvPr/>
        </p:nvSpPr>
        <p:spPr>
          <a:xfrm>
            <a:off x="8222186" y="1044076"/>
            <a:ext cx="3456000" cy="10972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SILVER ECONOMY </a:t>
            </a:r>
          </a:p>
          <a:p>
            <a:pPr algn="just"/>
            <a:endParaRPr lang="it-IT" sz="1600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it-IT" sz="1400">
                <a:latin typeface="Century Gothic" panose="020B0502020202020204" pitchFamily="34" charset="0"/>
              </a:rPr>
              <a:t>Con il progressivo </a:t>
            </a:r>
            <a:r>
              <a:rPr lang="it-IT" sz="1400" b="1">
                <a:latin typeface="Century Gothic" panose="020B0502020202020204" pitchFamily="34" charset="0"/>
              </a:rPr>
              <a:t>aumento della popolazione </a:t>
            </a:r>
            <a:r>
              <a:rPr lang="it-IT" sz="1400">
                <a:latin typeface="Century Gothic" panose="020B0502020202020204" pitchFamily="34" charset="0"/>
              </a:rPr>
              <a:t>in molti Paesi, tra cui l’Italia, la </a:t>
            </a:r>
            <a:r>
              <a:rPr lang="it-IT" sz="1400" b="1">
                <a:latin typeface="Century Gothic" panose="020B0502020202020204" pitchFamily="34" charset="0"/>
              </a:rPr>
              <a:t>Silver Economy </a:t>
            </a:r>
            <a:r>
              <a:rPr lang="it-IT" sz="1400">
                <a:latin typeface="Century Gothic" panose="020B0502020202020204" pitchFamily="34" charset="0"/>
              </a:rPr>
              <a:t>è tra i settori economici più in crescita. Servizi sanitari, turismo, tecnologie assistive, abitazioni adattate, tempo libero e benessere della popolazione anziana.</a:t>
            </a:r>
          </a:p>
        </p:txBody>
      </p:sp>
      <p:grpSp>
        <p:nvGrpSpPr>
          <p:cNvPr id="33" name="Group 9">
            <a:extLst>
              <a:ext uri="{FF2B5EF4-FFF2-40B4-BE49-F238E27FC236}">
                <a16:creationId xmlns:a16="http://schemas.microsoft.com/office/drawing/2014/main" id="{60242823-812D-69EA-F805-2F8A87D7112E}"/>
              </a:ext>
            </a:extLst>
          </p:cNvPr>
          <p:cNvGrpSpPr/>
          <p:nvPr/>
        </p:nvGrpSpPr>
        <p:grpSpPr>
          <a:xfrm>
            <a:off x="4630200" y="3101717"/>
            <a:ext cx="3305777" cy="1111889"/>
            <a:chOff x="880716" y="3497010"/>
            <a:chExt cx="3240014" cy="1089769"/>
          </a:xfrm>
        </p:grpSpPr>
        <p:sp>
          <p:nvSpPr>
            <p:cNvPr id="35" name="TextBox 63">
              <a:extLst>
                <a:ext uri="{FF2B5EF4-FFF2-40B4-BE49-F238E27FC236}">
                  <a16:creationId xmlns:a16="http://schemas.microsoft.com/office/drawing/2014/main" id="{329A4D73-1E38-F4EC-623B-14D7265193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0716" y="4043801"/>
              <a:ext cx="722712" cy="542978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r" defTabSz="1218095" eaLnBrk="1" fontAlgn="base" latinLnBrk="0" hangingPunct="1">
                <a:lnSpc>
                  <a:spcPct val="100000"/>
                </a:lnSpc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3600" b="1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40</a:t>
              </a:r>
              <a:r>
                <a:rPr kumimoji="0" lang="it-IT" b="1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%</a:t>
              </a:r>
              <a:endParaRPr kumimoji="0" lang="it-IT" sz="3600" b="0" i="0" u="none" strike="noStrike" kern="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sym typeface="Century Gothic" panose="020B0502020202020204" pitchFamily="34" charset="0"/>
              </a:endParaRPr>
            </a:p>
          </p:txBody>
        </p:sp>
        <p:sp>
          <p:nvSpPr>
            <p:cNvPr id="36" name="TextBox 64">
              <a:extLst>
                <a:ext uri="{FF2B5EF4-FFF2-40B4-BE49-F238E27FC236}">
                  <a16:creationId xmlns:a16="http://schemas.microsoft.com/office/drawing/2014/main" id="{8C7D2260-5A5A-C1D4-CAB1-28FB4113D7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29216" y="3638302"/>
              <a:ext cx="2191514" cy="84462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defTabSz="1218095" eaLnBrk="1" fontAlgn="base" latinLnBrk="0" hangingPunct="1">
                <a:lnSpc>
                  <a:spcPct val="100000"/>
                </a:lnSpc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dell'orario di lavoro in tutte le </a:t>
              </a:r>
              <a:r>
                <a:rPr kumimoji="0" lang="it-IT" sz="1400" b="0" i="0" u="none" strike="noStrike" kern="0" cap="none" spc="0" normalizeH="0" baseline="0" noProof="0" err="1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industries</a:t>
              </a:r>
              <a:r>
                <a:rPr kumimoji="0" lang="it-IT" sz="1400" b="0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 può essere impattato dai </a:t>
              </a:r>
              <a:r>
                <a:rPr kumimoji="0" lang="it-IT" sz="1400" b="1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Large Language Models</a:t>
              </a:r>
            </a:p>
          </p:txBody>
        </p:sp>
        <p:pic>
          <p:nvPicPr>
            <p:cNvPr id="37" name="Picture 2">
              <a:extLst>
                <a:ext uri="{FF2B5EF4-FFF2-40B4-BE49-F238E27FC236}">
                  <a16:creationId xmlns:a16="http://schemas.microsoft.com/office/drawing/2014/main" id="{3C45F7D7-40F0-A0BE-7F04-37970C8C24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/>
            <a:srcRect/>
            <a:stretch/>
          </p:blipFill>
          <p:spPr bwMode="auto">
            <a:xfrm>
              <a:off x="1024363" y="3497010"/>
              <a:ext cx="615500" cy="61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5" name="VerticalLine4 16">
              <a:extLst>
                <a:ext uri="{FF2B5EF4-FFF2-40B4-BE49-F238E27FC236}">
                  <a16:creationId xmlns:a16="http://schemas.microsoft.com/office/drawing/2014/main" id="{5183134B-DC3C-71F1-4242-C0217B2330E5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gray">
            <a:xfrm>
              <a:off x="1718983" y="3583669"/>
              <a:ext cx="0" cy="994730"/>
            </a:xfrm>
            <a:prstGeom prst="line">
              <a:avLst/>
            </a:prstGeom>
            <a:noFill/>
            <a:ln w="3175" cap="flat" cmpd="sng" algn="ctr">
              <a:solidFill>
                <a:srgbClr val="406B9B"/>
              </a:solidFill>
              <a:prstDash val="solid"/>
            </a:ln>
            <a:effectLst/>
          </p:spPr>
        </p:cxnSp>
      </p:grpSp>
      <p:grpSp>
        <p:nvGrpSpPr>
          <p:cNvPr id="46" name="Group 9">
            <a:extLst>
              <a:ext uri="{FF2B5EF4-FFF2-40B4-BE49-F238E27FC236}">
                <a16:creationId xmlns:a16="http://schemas.microsoft.com/office/drawing/2014/main" id="{15D680CF-56D3-0A86-F86E-B8BBC97F09B4}"/>
              </a:ext>
            </a:extLst>
          </p:cNvPr>
          <p:cNvGrpSpPr/>
          <p:nvPr/>
        </p:nvGrpSpPr>
        <p:grpSpPr>
          <a:xfrm>
            <a:off x="4791519" y="4891483"/>
            <a:ext cx="3144458" cy="1128484"/>
            <a:chOff x="1039401" y="3541165"/>
            <a:chExt cx="3081904" cy="1106030"/>
          </a:xfrm>
        </p:grpSpPr>
        <p:sp>
          <p:nvSpPr>
            <p:cNvPr id="47" name="TextBox 63">
              <a:extLst>
                <a:ext uri="{FF2B5EF4-FFF2-40B4-BE49-F238E27FC236}">
                  <a16:creationId xmlns:a16="http://schemas.microsoft.com/office/drawing/2014/main" id="{BBB7DC70-DAE2-04C7-521E-A314C6B045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55660" y="4104220"/>
              <a:ext cx="447768" cy="542975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r" defTabSz="1218095" eaLnBrk="1" fontAlgn="base" latinLnBrk="0" hangingPunct="1">
                <a:lnSpc>
                  <a:spcPct val="100000"/>
                </a:lnSpc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3600" b="1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7</a:t>
              </a:r>
              <a:r>
                <a:rPr kumimoji="0" lang="it-IT" b="1" i="0" u="none" strike="noStrike" kern="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sym typeface="Century Gothic" panose="020B0502020202020204" pitchFamily="34" charset="0"/>
                </a:rPr>
                <a:t>%</a:t>
              </a:r>
              <a:endParaRPr kumimoji="0" lang="it-IT" sz="3600" b="0" i="0" u="none" strike="noStrike" kern="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sym typeface="Century Gothic" panose="020B0502020202020204" pitchFamily="34" charset="0"/>
              </a:endParaRPr>
            </a:p>
          </p:txBody>
        </p:sp>
        <p:sp>
          <p:nvSpPr>
            <p:cNvPr id="48" name="TextBox 64">
              <a:extLst>
                <a:ext uri="{FF2B5EF4-FFF2-40B4-BE49-F238E27FC236}">
                  <a16:creationId xmlns:a16="http://schemas.microsoft.com/office/drawing/2014/main" id="{1E0AA964-6509-C3E1-00BA-92D2CDCE3FA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29216" y="3659675"/>
              <a:ext cx="2192089" cy="84462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  <a:defRPr/>
              </a:pPr>
              <a:r>
                <a:rPr lang="it-IT" sz="1400" kern="0">
                  <a:solidFill>
                    <a:srgbClr val="406B9B"/>
                  </a:solidFill>
                </a:rPr>
                <a:t>Possibile aumento del </a:t>
              </a:r>
              <a:br>
                <a:rPr lang="it-IT" sz="1400" kern="0">
                  <a:solidFill>
                    <a:srgbClr val="406B9B"/>
                  </a:solidFill>
                </a:rPr>
              </a:br>
              <a:r>
                <a:rPr lang="it-IT" sz="1400" b="1" kern="0">
                  <a:solidFill>
                    <a:srgbClr val="406B9B"/>
                  </a:solidFill>
                </a:rPr>
                <a:t>PIL globale </a:t>
              </a:r>
              <a:r>
                <a:rPr lang="it-IT" sz="1400" kern="0">
                  <a:solidFill>
                    <a:srgbClr val="406B9B"/>
                  </a:solidFill>
                </a:rPr>
                <a:t>prodotto dalla </a:t>
              </a:r>
              <a:r>
                <a:rPr lang="it-IT" sz="1400" b="1" kern="0">
                  <a:solidFill>
                    <a:srgbClr val="406B9B"/>
                  </a:solidFill>
                </a:rPr>
                <a:t>Generative AI </a:t>
              </a:r>
              <a:br>
                <a:rPr lang="it-IT" sz="1400" b="1" kern="0">
                  <a:solidFill>
                    <a:srgbClr val="406B9B"/>
                  </a:solidFill>
                </a:rPr>
              </a:br>
              <a:r>
                <a:rPr lang="it-IT" sz="1400" kern="0">
                  <a:solidFill>
                    <a:srgbClr val="406B9B"/>
                  </a:solidFill>
                </a:rPr>
                <a:t>in 10 anni</a:t>
              </a:r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3B42395C-BDE4-257D-2358-1D87ECD054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/>
            <a:srcRect/>
            <a:stretch/>
          </p:blipFill>
          <p:spPr bwMode="auto">
            <a:xfrm>
              <a:off x="1039401" y="3541165"/>
              <a:ext cx="621044" cy="621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0" name="VerticalLine4 16">
              <a:extLst>
                <a:ext uri="{FF2B5EF4-FFF2-40B4-BE49-F238E27FC236}">
                  <a16:creationId xmlns:a16="http://schemas.microsoft.com/office/drawing/2014/main" id="{F9D30A31-2404-83A9-2572-EEBA1B8C076E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1718983" y="3583669"/>
              <a:ext cx="0" cy="994730"/>
            </a:xfrm>
            <a:prstGeom prst="line">
              <a:avLst/>
            </a:prstGeom>
            <a:noFill/>
            <a:ln w="3175" cap="flat" cmpd="sng" algn="ctr">
              <a:solidFill>
                <a:srgbClr val="406B9B"/>
              </a:solidFill>
              <a:prstDash val="solid"/>
            </a:ln>
            <a:effectLst/>
          </p:spPr>
        </p:cxnSp>
      </p:grpSp>
      <p:pic>
        <p:nvPicPr>
          <p:cNvPr id="53" name="Immagine 52" descr="Immagine che contiene schermata, testo, design&#10;&#10;Descrizione generata automaticamente">
            <a:extLst>
              <a:ext uri="{FF2B5EF4-FFF2-40B4-BE49-F238E27FC236}">
                <a16:creationId xmlns:a16="http://schemas.microsoft.com/office/drawing/2014/main" id="{CC729AFA-6977-5E4D-7212-F9AEEF3A331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6164" y="2181764"/>
            <a:ext cx="4156092" cy="3563628"/>
          </a:xfrm>
          <a:prstGeom prst="rect">
            <a:avLst/>
          </a:prstGeom>
        </p:spPr>
      </p:pic>
      <p:cxnSp>
        <p:nvCxnSpPr>
          <p:cNvPr id="5" name="Straight Connector 116">
            <a:extLst>
              <a:ext uri="{FF2B5EF4-FFF2-40B4-BE49-F238E27FC236}">
                <a16:creationId xmlns:a16="http://schemas.microsoft.com/office/drawing/2014/main" id="{369D29EE-CE79-B70D-FA3F-2B9651F88452}"/>
              </a:ext>
            </a:extLst>
          </p:cNvPr>
          <p:cNvCxnSpPr>
            <a:cxnSpLocks/>
          </p:cNvCxnSpPr>
          <p:nvPr/>
        </p:nvCxnSpPr>
        <p:spPr>
          <a:xfrm flipV="1">
            <a:off x="4250873" y="1151166"/>
            <a:ext cx="0" cy="5305349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16">
            <a:extLst>
              <a:ext uri="{FF2B5EF4-FFF2-40B4-BE49-F238E27FC236}">
                <a16:creationId xmlns:a16="http://schemas.microsoft.com/office/drawing/2014/main" id="{05677E67-127A-A9F1-665C-03E1D839EAC0}"/>
              </a:ext>
            </a:extLst>
          </p:cNvPr>
          <p:cNvCxnSpPr>
            <a:cxnSpLocks/>
          </p:cNvCxnSpPr>
          <p:nvPr/>
        </p:nvCxnSpPr>
        <p:spPr>
          <a:xfrm flipV="1">
            <a:off x="8055430" y="1151166"/>
            <a:ext cx="0" cy="5305349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AA252363-60E6-990F-CA59-F6677C810E9D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/>
          <a:stretch/>
        </p:blipFill>
        <p:spPr>
          <a:xfrm>
            <a:off x="8159403" y="3429002"/>
            <a:ext cx="3571399" cy="3062285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89BA1859-ABB8-3653-EA55-777C199ED47B}"/>
              </a:ext>
            </a:extLst>
          </p:cNvPr>
          <p:cNvSpPr txBox="1"/>
          <p:nvPr/>
        </p:nvSpPr>
        <p:spPr>
          <a:xfrm>
            <a:off x="8287800" y="6523915"/>
            <a:ext cx="3904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Fonte:  Fonte: </a:t>
            </a:r>
            <a:r>
              <a:rPr lang="it-IT" sz="1000" err="1">
                <a:solidFill>
                  <a:srgbClr val="808080"/>
                </a:solidFill>
                <a:latin typeface="Century Gothic" panose="020B0502020202020204" pitchFamily="34" charset="0"/>
              </a:rPr>
              <a:t>Population</a:t>
            </a: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 </a:t>
            </a:r>
            <a:r>
              <a:rPr lang="it-IT" sz="1000" err="1">
                <a:solidFill>
                  <a:srgbClr val="808080"/>
                </a:solidFill>
                <a:latin typeface="Century Gothic" panose="020B0502020202020204" pitchFamily="34" charset="0"/>
              </a:rPr>
              <a:t>Pyramid</a:t>
            </a: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, </a:t>
            </a:r>
            <a:r>
              <a:rPr lang="it-IT" sz="1000" err="1">
                <a:solidFill>
                  <a:srgbClr val="808080"/>
                </a:solidFill>
                <a:latin typeface="Century Gothic" panose="020B0502020202020204" pitchFamily="34" charset="0"/>
              </a:rPr>
              <a:t>Our</a:t>
            </a:r>
            <a:r>
              <a:rPr lang="it-IT" sz="1000">
                <a:solidFill>
                  <a:srgbClr val="808080"/>
                </a:solidFill>
                <a:latin typeface="Century Gothic" panose="020B0502020202020204" pitchFamily="34" charset="0"/>
              </a:rPr>
              <a:t> World in Data</a:t>
            </a:r>
          </a:p>
        </p:txBody>
      </p:sp>
    </p:spTree>
    <p:extLst>
      <p:ext uri="{BB962C8B-B14F-4D97-AF65-F5344CB8AC3E}">
        <p14:creationId xmlns:p14="http://schemas.microsoft.com/office/powerpoint/2010/main" val="9652239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90271FCA-9855-01AF-406C-7014A5D83F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pPr marL="184785"/>
            <a:r>
              <a:rPr lang="it-IT"/>
              <a:t>L’Italia nel contesto Europeo di innovazione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746BEB9-B347-48D8-B98E-CD692781D7C8}"/>
              </a:ext>
            </a:extLst>
          </p:cNvPr>
          <p:cNvSpPr txBox="1"/>
          <p:nvPr/>
        </p:nvSpPr>
        <p:spPr>
          <a:xfrm>
            <a:off x="611259" y="1300864"/>
            <a:ext cx="3756345" cy="47296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400">
                <a:latin typeface="Century Gothic" panose="020B0502020202020204" pitchFamily="34" charset="0"/>
              </a:rPr>
              <a:t>L’Italia risulta un paese ‘</a:t>
            </a:r>
            <a:r>
              <a:rPr lang="it-IT" sz="1400" b="1">
                <a:latin typeface="Century Gothic" panose="020B0502020202020204" pitchFamily="34" charset="0"/>
              </a:rPr>
              <a:t>Moderatamente Innovatore</a:t>
            </a:r>
            <a:r>
              <a:rPr lang="it-IT" sz="1400">
                <a:latin typeface="Century Gothic" panose="020B0502020202020204" pitchFamily="34" charset="0"/>
              </a:rPr>
              <a:t>’ secondo i principali indici di innovazione Europei e Globali (</a:t>
            </a:r>
            <a:r>
              <a:rPr lang="it-IT" sz="1400" err="1">
                <a:latin typeface="Century Gothic" panose="020B0502020202020204" pitchFamily="34" charset="0"/>
              </a:rPr>
              <a:t>European</a:t>
            </a:r>
            <a:r>
              <a:rPr lang="it-IT" sz="1400">
                <a:latin typeface="Century Gothic" panose="020B0502020202020204" pitchFamily="34" charset="0"/>
              </a:rPr>
              <a:t> Innovation </a:t>
            </a:r>
            <a:r>
              <a:rPr lang="it-IT" sz="1400" err="1">
                <a:latin typeface="Century Gothic" panose="020B0502020202020204" pitchFamily="34" charset="0"/>
              </a:rPr>
              <a:t>Scoreboard</a:t>
            </a:r>
            <a:r>
              <a:rPr lang="it-IT" sz="1400">
                <a:latin typeface="Century Gothic" panose="020B0502020202020204" pitchFamily="34" charset="0"/>
              </a:rPr>
              <a:t>, DESI Index, WIPO Global Innovation Index)</a:t>
            </a: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Alcune </a:t>
            </a:r>
            <a:r>
              <a:rPr lang="it-IT" sz="1400" b="1">
                <a:latin typeface="Century Gothic" panose="020B0502020202020204" pitchFamily="34" charset="0"/>
              </a:rPr>
              <a:t>regioni</a:t>
            </a:r>
            <a:r>
              <a:rPr lang="it-IT" sz="1400">
                <a:latin typeface="Century Gothic" panose="020B0502020202020204" pitchFamily="34" charset="0"/>
              </a:rPr>
              <a:t> sono considerate ‘</a:t>
            </a:r>
            <a:r>
              <a:rPr lang="it-IT" sz="1400" b="1">
                <a:latin typeface="Century Gothic" panose="020B0502020202020204" pitchFamily="34" charset="0"/>
              </a:rPr>
              <a:t>Fortemente Innovatrici</a:t>
            </a:r>
            <a:r>
              <a:rPr lang="it-IT" sz="1400">
                <a:latin typeface="Century Gothic" panose="020B0502020202020204" pitchFamily="34" charset="0"/>
              </a:rPr>
              <a:t>’ a livello Europeo, secondo il </a:t>
            </a:r>
            <a:r>
              <a:rPr lang="it-IT" sz="1400" err="1">
                <a:latin typeface="Century Gothic" panose="020B0502020202020204" pitchFamily="34" charset="0"/>
              </a:rPr>
              <a:t>Regional</a:t>
            </a:r>
            <a:r>
              <a:rPr lang="it-IT" sz="1400">
                <a:latin typeface="Century Gothic" panose="020B0502020202020204" pitchFamily="34" charset="0"/>
              </a:rPr>
              <a:t> Innovation </a:t>
            </a:r>
            <a:r>
              <a:rPr lang="it-IT" sz="1400" err="1">
                <a:latin typeface="Century Gothic" panose="020B0502020202020204" pitchFamily="34" charset="0"/>
              </a:rPr>
              <a:t>Scoreboard</a:t>
            </a:r>
            <a:r>
              <a:rPr lang="it-IT" sz="1400">
                <a:latin typeface="Century Gothic" panose="020B0502020202020204" pitchFamily="34" charset="0"/>
              </a:rPr>
              <a:t> della Commissione Europea quali l’</a:t>
            </a:r>
            <a:r>
              <a:rPr lang="it-IT" sz="1400" b="1">
                <a:latin typeface="Century Gothic" panose="020B0502020202020204" pitchFamily="34" charset="0"/>
              </a:rPr>
              <a:t>Emilia-Romagna</a:t>
            </a:r>
            <a:r>
              <a:rPr lang="it-IT" sz="1400">
                <a:latin typeface="Century Gothic" panose="020B0502020202020204" pitchFamily="34" charset="0"/>
              </a:rPr>
              <a:t>, la </a:t>
            </a:r>
            <a:r>
              <a:rPr lang="it-IT" sz="1400" b="1">
                <a:latin typeface="Century Gothic" panose="020B0502020202020204" pitchFamily="34" charset="0"/>
              </a:rPr>
              <a:t>Lombardia</a:t>
            </a:r>
            <a:r>
              <a:rPr lang="it-IT" sz="1400">
                <a:latin typeface="Century Gothic" panose="020B0502020202020204" pitchFamily="34" charset="0"/>
              </a:rPr>
              <a:t>, il </a:t>
            </a:r>
            <a:r>
              <a:rPr lang="it-IT" sz="1400" b="1">
                <a:latin typeface="Century Gothic" panose="020B0502020202020204" pitchFamily="34" charset="0"/>
              </a:rPr>
              <a:t>Veneto</a:t>
            </a:r>
            <a:r>
              <a:rPr lang="it-IT" sz="1400">
                <a:latin typeface="Century Gothic" panose="020B0502020202020204" pitchFamily="34" charset="0"/>
              </a:rPr>
              <a:t> e il </a:t>
            </a:r>
            <a:r>
              <a:rPr lang="it-IT" sz="1400" b="1">
                <a:latin typeface="Century Gothic" panose="020B0502020202020204" pitchFamily="34" charset="0"/>
              </a:rPr>
              <a:t>Lazio</a:t>
            </a:r>
            <a:r>
              <a:rPr lang="it-IT" sz="1400">
                <a:latin typeface="Century Gothic" panose="020B0502020202020204" pitchFamily="34" charset="0"/>
              </a:rPr>
              <a:t>, mente il Piemonte risulta ‘Moderatamente Innovatore’</a:t>
            </a:r>
            <a:endParaRPr lang="it-IT" sz="140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Tra i punti di forza del nostro Paese </a:t>
            </a:r>
            <a:r>
              <a:rPr lang="it-IT" sz="1400" b="1">
                <a:latin typeface="Century Gothic" panose="020B0502020202020204" pitchFamily="34" charset="0"/>
              </a:rPr>
              <a:t>l’Innovazione dei processi aziendali</a:t>
            </a:r>
            <a:r>
              <a:rPr lang="it-IT" sz="1400">
                <a:latin typeface="Century Gothic" panose="020B0502020202020204" pitchFamily="34" charset="0"/>
              </a:rPr>
              <a:t>, il </a:t>
            </a:r>
            <a:r>
              <a:rPr lang="it-IT" sz="1400" b="1">
                <a:latin typeface="Century Gothic" panose="020B0502020202020204" pitchFamily="34" charset="0"/>
              </a:rPr>
              <a:t>sostegno del Governo </a:t>
            </a:r>
            <a:r>
              <a:rPr lang="it-IT" sz="1400">
                <a:latin typeface="Century Gothic" panose="020B0502020202020204" pitchFamily="34" charset="0"/>
              </a:rPr>
              <a:t>nei confronti della </a:t>
            </a:r>
            <a:r>
              <a:rPr lang="it-IT" sz="1400" b="1">
                <a:latin typeface="Century Gothic" panose="020B0502020202020204" pitchFamily="34" charset="0"/>
              </a:rPr>
              <a:t>Ricerca &amp; Sviluppo </a:t>
            </a:r>
            <a:r>
              <a:rPr lang="it-IT" sz="1400">
                <a:latin typeface="Century Gothic" panose="020B0502020202020204" pitchFamily="34" charset="0"/>
              </a:rPr>
              <a:t>e l’alto numero di co-pubblicazioni pubblico/priva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32E54D95-8644-4BED-B203-2E8DC009D8E1}"/>
              </a:ext>
            </a:extLst>
          </p:cNvPr>
          <p:cNvSpPr txBox="1"/>
          <p:nvPr/>
        </p:nvSpPr>
        <p:spPr>
          <a:xfrm>
            <a:off x="514749" y="6286441"/>
            <a:ext cx="5537708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Fonte: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European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Innovation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Scoreboard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2022,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Regional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Innovation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Scoreboard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2021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E83E58BD-D249-6C49-268A-B3D3E4B865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458201" y="1030860"/>
            <a:ext cx="7295345" cy="499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286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90271FCA-9855-01AF-406C-7014A5D83F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pPr marL="184785"/>
            <a:r>
              <a:rPr lang="it-IT"/>
              <a:t>Gli investimenti Venture Capital in Startup e PMI Innovative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746BEB9-B347-48D8-B98E-CD692781D7C8}"/>
              </a:ext>
            </a:extLst>
          </p:cNvPr>
          <p:cNvSpPr txBox="1"/>
          <p:nvPr/>
        </p:nvSpPr>
        <p:spPr>
          <a:xfrm>
            <a:off x="531284" y="4172075"/>
            <a:ext cx="10797769" cy="22390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400">
                <a:latin typeface="Century Gothic" panose="020B0502020202020204" pitchFamily="34" charset="0"/>
              </a:rPr>
              <a:t>Per quanto riguarda gli investimenti Venture Capital l’Italia si dimostra in controtendenza rispetto al trend globale in forte calo, raggiungendo quasi 2 miliardi di euro investiti nel 2022, con un interesse crescente da parte degli investitori esteri</a:t>
            </a: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Oltre il 50% delle startup e PMI innovative che hanno ricevuto finanziamenti nel 2022 sono localizzate tra Piemonte e Lombardia</a:t>
            </a: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Il settore ICT si conferma di grande interesse per gli investitori, in particolare nelle soluzioni B2B, seguito dai Servizi Finanziari, l’Healthcare e il settore dell’Energia &amp; Ambiente</a:t>
            </a:r>
          </a:p>
          <a:p>
            <a:endParaRPr lang="it-IT" sz="160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0C73A15-9361-4B9F-9DBA-DCFA46E3854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70909" y="1360180"/>
            <a:ext cx="3915775" cy="2651489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C0EDCEDF-49B9-4866-94BD-1BB37DCC2C8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308728" y="1372947"/>
            <a:ext cx="3775843" cy="2556736"/>
          </a:xfrm>
          <a:prstGeom prst="rect">
            <a:avLst/>
          </a:prstGeom>
        </p:spPr>
      </p:pic>
      <p:pic>
        <p:nvPicPr>
          <p:cNvPr id="1032" name="Picture 8" descr="Bandiera Italiana arte vettoriale, icone e grafica per il download gratuito">
            <a:extLst>
              <a:ext uri="{FF2B5EF4-FFF2-40B4-BE49-F238E27FC236}">
                <a16:creationId xmlns:a16="http://schemas.microsoft.com/office/drawing/2014/main" id="{1F9BC7DD-396B-48A1-9ABA-B09626ECE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5922" y="1327906"/>
            <a:ext cx="405809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AED66134-EE82-4135-8438-F42C0A7D1589}"/>
              </a:ext>
            </a:extLst>
          </p:cNvPr>
          <p:cNvSpPr txBox="1"/>
          <p:nvPr/>
        </p:nvSpPr>
        <p:spPr>
          <a:xfrm>
            <a:off x="514749" y="6286441"/>
            <a:ext cx="5537708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Fonte: CB Insights, Osservatorio VEM – Venture Capital Monitor</a:t>
            </a:r>
          </a:p>
        </p:txBody>
      </p:sp>
    </p:spTree>
    <p:extLst>
      <p:ext uri="{BB962C8B-B14F-4D97-AF65-F5344CB8AC3E}">
        <p14:creationId xmlns:p14="http://schemas.microsoft.com/office/powerpoint/2010/main" val="7433728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102">
            <a:extLst>
              <a:ext uri="{FF2B5EF4-FFF2-40B4-BE49-F238E27FC236}">
                <a16:creationId xmlns:a16="http://schemas.microsoft.com/office/drawing/2014/main" id="{340A0D7E-8E5F-41BF-A31E-22CD602C6374}"/>
              </a:ext>
            </a:extLst>
          </p:cNvPr>
          <p:cNvSpPr txBox="1">
            <a:spLocks/>
          </p:cNvSpPr>
          <p:nvPr/>
        </p:nvSpPr>
        <p:spPr bwMode="gray">
          <a:xfrm>
            <a:off x="6499847" y="1107781"/>
            <a:ext cx="3291802" cy="3204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041" b="1">
                <a:solidFill>
                  <a:srgbClr val="406B9B"/>
                </a:solidFill>
              </a:rPr>
              <a:t>Startup/PMI innovative</a:t>
            </a:r>
            <a:endParaRPr lang="it-IT" sz="2041">
              <a:solidFill>
                <a:srgbClr val="808080"/>
              </a:solidFill>
            </a:endParaRPr>
          </a:p>
        </p:txBody>
      </p:sp>
      <p:sp>
        <p:nvSpPr>
          <p:cNvPr id="44" name="TextBox 99">
            <a:extLst>
              <a:ext uri="{FF2B5EF4-FFF2-40B4-BE49-F238E27FC236}">
                <a16:creationId xmlns:a16="http://schemas.microsoft.com/office/drawing/2014/main" id="{FBABE09A-4D3A-4A41-890D-B0CE8AD92C5D}"/>
              </a:ext>
            </a:extLst>
          </p:cNvPr>
          <p:cNvSpPr txBox="1">
            <a:spLocks/>
          </p:cNvSpPr>
          <p:nvPr/>
        </p:nvSpPr>
        <p:spPr bwMode="gray">
          <a:xfrm>
            <a:off x="6421574" y="5196880"/>
            <a:ext cx="1313199" cy="4486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857" b="1">
                <a:solidFill>
                  <a:srgbClr val="406B9B"/>
                </a:solidFill>
              </a:rPr>
              <a:t>~5.300 </a:t>
            </a:r>
          </a:p>
        </p:txBody>
      </p:sp>
      <p:sp>
        <p:nvSpPr>
          <p:cNvPr id="45" name="TextBox 100">
            <a:extLst>
              <a:ext uri="{FF2B5EF4-FFF2-40B4-BE49-F238E27FC236}">
                <a16:creationId xmlns:a16="http://schemas.microsoft.com/office/drawing/2014/main" id="{2453D703-4B94-4BF3-AA45-C3290BD6EBA0}"/>
              </a:ext>
            </a:extLst>
          </p:cNvPr>
          <p:cNvSpPr txBox="1">
            <a:spLocks/>
          </p:cNvSpPr>
          <p:nvPr/>
        </p:nvSpPr>
        <p:spPr bwMode="gray">
          <a:xfrm>
            <a:off x="7970964" y="4980479"/>
            <a:ext cx="3797597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 b="1">
                <a:solidFill>
                  <a:srgbClr val="406B9B"/>
                </a:solidFill>
              </a:rPr>
              <a:t>Startup e PMI innovative </a:t>
            </a:r>
            <a:r>
              <a:rPr lang="it-IT" sz="1400">
                <a:solidFill>
                  <a:srgbClr val="000000"/>
                </a:solidFill>
              </a:rPr>
              <a:t>sono</a:t>
            </a:r>
            <a:r>
              <a:rPr lang="it-IT" sz="1400" b="1">
                <a:solidFill>
                  <a:srgbClr val="406B9B"/>
                </a:solidFill>
              </a:rPr>
              <a:t> partecipate </a:t>
            </a:r>
            <a:r>
              <a:rPr lang="it-IT" sz="1400">
                <a:solidFill>
                  <a:srgbClr val="000000"/>
                </a:solidFill>
              </a:rPr>
              <a:t>da </a:t>
            </a:r>
            <a:r>
              <a:rPr lang="it-IT" sz="1400" b="1">
                <a:solidFill>
                  <a:srgbClr val="406B9B"/>
                </a:solidFill>
              </a:rPr>
              <a:t>CVC al 2022</a:t>
            </a:r>
            <a:br>
              <a:rPr lang="it-IT" sz="1400" b="1">
                <a:solidFill>
                  <a:srgbClr val="406B9B"/>
                </a:solidFill>
              </a:rPr>
            </a:br>
            <a:r>
              <a:rPr lang="it-IT" sz="1400" b="1">
                <a:solidFill>
                  <a:srgbClr val="000000"/>
                </a:solidFill>
              </a:rPr>
              <a:t>31,2</a:t>
            </a:r>
            <a:r>
              <a:rPr lang="it-IT" sz="1400">
                <a:solidFill>
                  <a:srgbClr val="000000"/>
                </a:solidFill>
              </a:rPr>
              <a:t>% del totale di quelle iscritte al registro delle imprese innovative</a:t>
            </a:r>
            <a:r>
              <a:rPr lang="it-IT" sz="1400" baseline="30000">
                <a:solidFill>
                  <a:srgbClr val="000000"/>
                </a:solidFill>
              </a:rPr>
              <a:t> (3)</a:t>
            </a:r>
            <a:endParaRPr lang="it-IT" sz="1400">
              <a:solidFill>
                <a:srgbClr val="000000"/>
              </a:solidFill>
            </a:endParaRPr>
          </a:p>
        </p:txBody>
      </p:sp>
      <p:cxnSp>
        <p:nvCxnSpPr>
          <p:cNvPr id="38" name="Straight Connector 116">
            <a:extLst>
              <a:ext uri="{FF2B5EF4-FFF2-40B4-BE49-F238E27FC236}">
                <a16:creationId xmlns:a16="http://schemas.microsoft.com/office/drawing/2014/main" id="{B852FCFC-1C5B-425C-875F-5C8E44FF0D91}"/>
              </a:ext>
            </a:extLst>
          </p:cNvPr>
          <p:cNvCxnSpPr>
            <a:cxnSpLocks/>
          </p:cNvCxnSpPr>
          <p:nvPr/>
        </p:nvCxnSpPr>
        <p:spPr>
          <a:xfrm flipV="1">
            <a:off x="6116024" y="1175675"/>
            <a:ext cx="0" cy="4727762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olo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Il ruolo centrale dell’Open Innovation</a:t>
            </a:r>
          </a:p>
        </p:txBody>
      </p:sp>
      <p:sp>
        <p:nvSpPr>
          <p:cNvPr id="50" name="TextBox 99">
            <a:extLst>
              <a:ext uri="{FF2B5EF4-FFF2-40B4-BE49-F238E27FC236}">
                <a16:creationId xmlns:a16="http://schemas.microsoft.com/office/drawing/2014/main" id="{FBABE09A-4D3A-4A41-890D-B0CE8AD92C5D}"/>
              </a:ext>
            </a:extLst>
          </p:cNvPr>
          <p:cNvSpPr txBox="1">
            <a:spLocks/>
          </p:cNvSpPr>
          <p:nvPr/>
        </p:nvSpPr>
        <p:spPr bwMode="gray">
          <a:xfrm>
            <a:off x="6412795" y="3920007"/>
            <a:ext cx="1313199" cy="4486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857" b="1">
                <a:solidFill>
                  <a:srgbClr val="406B9B"/>
                </a:solidFill>
              </a:rPr>
              <a:t>31,2%</a:t>
            </a:r>
          </a:p>
        </p:txBody>
      </p:sp>
      <p:sp>
        <p:nvSpPr>
          <p:cNvPr id="51" name="TextBox 100">
            <a:extLst>
              <a:ext uri="{FF2B5EF4-FFF2-40B4-BE49-F238E27FC236}">
                <a16:creationId xmlns:a16="http://schemas.microsoft.com/office/drawing/2014/main" id="{2453D703-4B94-4BF3-AA45-C3290BD6EBA0}"/>
              </a:ext>
            </a:extLst>
          </p:cNvPr>
          <p:cNvSpPr txBox="1">
            <a:spLocks/>
          </p:cNvSpPr>
          <p:nvPr/>
        </p:nvSpPr>
        <p:spPr bwMode="gray">
          <a:xfrm>
            <a:off x="7970964" y="3939332"/>
            <a:ext cx="390276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</a:rPr>
              <a:t>delle startup innovative italiane </a:t>
            </a:r>
            <a:br>
              <a:rPr lang="it-IT" sz="1400">
                <a:solidFill>
                  <a:srgbClr val="000000"/>
                </a:solidFill>
              </a:rPr>
            </a:br>
            <a:r>
              <a:rPr lang="it-IT" sz="1400">
                <a:solidFill>
                  <a:srgbClr val="000000"/>
                </a:solidFill>
              </a:rPr>
              <a:t>sono </a:t>
            </a:r>
            <a:r>
              <a:rPr lang="it-IT" sz="1400" b="1">
                <a:solidFill>
                  <a:srgbClr val="406B9B"/>
                </a:solidFill>
              </a:rPr>
              <a:t>clienti Intesa Sanpaolo </a:t>
            </a:r>
            <a:r>
              <a:rPr lang="it-IT" sz="1400" baseline="30000">
                <a:solidFill>
                  <a:srgbClr val="000000"/>
                </a:solidFill>
              </a:rPr>
              <a:t>(2)</a:t>
            </a:r>
          </a:p>
        </p:txBody>
      </p:sp>
      <p:sp>
        <p:nvSpPr>
          <p:cNvPr id="52" name="TextBox 100">
            <a:extLst>
              <a:ext uri="{FF2B5EF4-FFF2-40B4-BE49-F238E27FC236}">
                <a16:creationId xmlns:a16="http://schemas.microsoft.com/office/drawing/2014/main" id="{2453D703-4B94-4BF3-AA45-C3290BD6EBA0}"/>
              </a:ext>
            </a:extLst>
          </p:cNvPr>
          <p:cNvSpPr txBox="1">
            <a:spLocks/>
          </p:cNvSpPr>
          <p:nvPr/>
        </p:nvSpPr>
        <p:spPr bwMode="gray">
          <a:xfrm>
            <a:off x="7970965" y="1700875"/>
            <a:ext cx="347237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 b="1">
                <a:solidFill>
                  <a:srgbClr val="406B9B"/>
                </a:solidFill>
              </a:rPr>
              <a:t>startup iscritte al Mise </a:t>
            </a:r>
            <a:r>
              <a:rPr lang="it-IT" sz="1400" baseline="30000">
                <a:solidFill>
                  <a:srgbClr val="000000"/>
                </a:solidFill>
              </a:rPr>
              <a:t>(1)</a:t>
            </a:r>
            <a:r>
              <a:rPr lang="it-IT" sz="1400">
                <a:solidFill>
                  <a:srgbClr val="000000"/>
                </a:solidFill>
              </a:rPr>
              <a:t> </a:t>
            </a:r>
            <a:br>
              <a:rPr lang="it-IT" sz="1400">
                <a:solidFill>
                  <a:srgbClr val="000000"/>
                </a:solidFill>
              </a:rPr>
            </a:br>
            <a:r>
              <a:rPr lang="it-IT" sz="1400">
                <a:solidFill>
                  <a:srgbClr val="000000"/>
                </a:solidFill>
              </a:rPr>
              <a:t>al 31/03/2023</a:t>
            </a:r>
          </a:p>
        </p:txBody>
      </p:sp>
      <p:sp>
        <p:nvSpPr>
          <p:cNvPr id="9" name="Rettangolo 8"/>
          <p:cNvSpPr/>
          <p:nvPr/>
        </p:nvSpPr>
        <p:spPr>
          <a:xfrm>
            <a:off x="6412814" y="1680882"/>
            <a:ext cx="1313180" cy="530915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57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14.040</a:t>
            </a:r>
          </a:p>
        </p:txBody>
      </p:sp>
      <p:sp>
        <p:nvSpPr>
          <p:cNvPr id="10" name="Rettangolo 9"/>
          <p:cNvSpPr/>
          <p:nvPr/>
        </p:nvSpPr>
        <p:spPr>
          <a:xfrm>
            <a:off x="560120" y="6241105"/>
            <a:ext cx="8929865" cy="627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00" indent="-829300" defTabSz="913523" fontAlgn="base">
              <a:spcBef>
                <a:spcPct val="0"/>
              </a:spcBef>
              <a:spcAft>
                <a:spcPct val="0"/>
              </a:spcAft>
              <a:tabLst>
                <a:tab pos="643030" algn="l"/>
              </a:tabLst>
            </a:pPr>
            <a:r>
              <a:rPr lang="it-IT" sz="1020">
                <a:solidFill>
                  <a:srgbClr val="808080"/>
                </a:solidFill>
                <a:latin typeface="Century Gothic"/>
              </a:rPr>
              <a:t>1) Registro delle Imprese 2) Intesa Sanpaolo dati 31/03/2023  </a:t>
            </a:r>
          </a:p>
          <a:p>
            <a:pPr marL="829300" indent="-829300" defTabSz="913523" fontAlgn="base">
              <a:spcBef>
                <a:spcPct val="0"/>
              </a:spcBef>
              <a:spcAft>
                <a:spcPct val="0"/>
              </a:spcAft>
              <a:tabLst>
                <a:tab pos="643030" algn="l"/>
              </a:tabLst>
            </a:pPr>
            <a:r>
              <a:rPr lang="it-IT" sz="1020">
                <a:solidFill>
                  <a:srgbClr val="808080"/>
                </a:solidFill>
                <a:latin typeface="Century Gothic"/>
              </a:rPr>
              <a:t>3) Settimo Osservatorio Open Innovation e Corporate Venture Capital 2022 </a:t>
            </a:r>
          </a:p>
          <a:p>
            <a:pPr marL="829300" indent="-829300" defTabSz="913523" fontAlgn="base">
              <a:spcBef>
                <a:spcPct val="0"/>
              </a:spcBef>
              <a:spcAft>
                <a:spcPct val="0"/>
              </a:spcAft>
              <a:tabLst>
                <a:tab pos="643030" algn="l"/>
              </a:tabLst>
            </a:pPr>
            <a:endParaRPr lang="it-IT" sz="1020">
              <a:solidFill>
                <a:srgbClr val="808080"/>
              </a:solidFill>
              <a:latin typeface="Century Gothic"/>
            </a:endParaRPr>
          </a:p>
          <a:p>
            <a:pPr marL="829300" indent="-829300" defTabSz="913523" fontAlgn="base">
              <a:spcBef>
                <a:spcPct val="0"/>
              </a:spcBef>
              <a:spcAft>
                <a:spcPct val="0"/>
              </a:spcAft>
              <a:tabLst>
                <a:tab pos="643030" algn="l"/>
              </a:tabLst>
            </a:pPr>
            <a:r>
              <a:rPr lang="it-IT" sz="1020">
                <a:solidFill>
                  <a:srgbClr val="808080"/>
                </a:solidFill>
                <a:latin typeface="Century Gothic"/>
              </a:rPr>
              <a:t> </a:t>
            </a:r>
            <a:endParaRPr lang="it-IT" sz="102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7" name="Straight Connector 90">
            <a:extLst>
              <a:ext uri="{FF2B5EF4-FFF2-40B4-BE49-F238E27FC236}">
                <a16:creationId xmlns:a16="http://schemas.microsoft.com/office/drawing/2014/main" id="{876C6D9F-3818-40E9-9C98-42C7F6B34A4A}"/>
              </a:ext>
            </a:extLst>
          </p:cNvPr>
          <p:cNvCxnSpPr>
            <a:cxnSpLocks/>
          </p:cNvCxnSpPr>
          <p:nvPr/>
        </p:nvCxnSpPr>
        <p:spPr>
          <a:xfrm>
            <a:off x="6590502" y="2391149"/>
            <a:ext cx="5142371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90">
            <a:extLst>
              <a:ext uri="{FF2B5EF4-FFF2-40B4-BE49-F238E27FC236}">
                <a16:creationId xmlns:a16="http://schemas.microsoft.com/office/drawing/2014/main" id="{876C6D9F-3818-40E9-9C98-42C7F6B34A4A}"/>
              </a:ext>
            </a:extLst>
          </p:cNvPr>
          <p:cNvCxnSpPr/>
          <p:nvPr/>
        </p:nvCxnSpPr>
        <p:spPr>
          <a:xfrm>
            <a:off x="6590502" y="4801497"/>
            <a:ext cx="5142371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102">
            <a:extLst>
              <a:ext uri="{FF2B5EF4-FFF2-40B4-BE49-F238E27FC236}">
                <a16:creationId xmlns:a16="http://schemas.microsoft.com/office/drawing/2014/main" id="{340A0D7E-8E5F-41BF-A31E-22CD602C6374}"/>
              </a:ext>
            </a:extLst>
          </p:cNvPr>
          <p:cNvSpPr txBox="1">
            <a:spLocks/>
          </p:cNvSpPr>
          <p:nvPr/>
        </p:nvSpPr>
        <p:spPr bwMode="gray">
          <a:xfrm>
            <a:off x="531367" y="1129456"/>
            <a:ext cx="3291802" cy="3204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041" b="1">
                <a:solidFill>
                  <a:srgbClr val="406B9B"/>
                </a:solidFill>
              </a:rPr>
              <a:t>Open Innovation</a:t>
            </a:r>
            <a:endParaRPr lang="it-IT" sz="2041">
              <a:solidFill>
                <a:srgbClr val="808080"/>
              </a:solidFill>
            </a:endParaRPr>
          </a:p>
        </p:txBody>
      </p:sp>
      <p:cxnSp>
        <p:nvCxnSpPr>
          <p:cNvPr id="26" name="Straight Connector 90">
            <a:extLst>
              <a:ext uri="{FF2B5EF4-FFF2-40B4-BE49-F238E27FC236}">
                <a16:creationId xmlns:a16="http://schemas.microsoft.com/office/drawing/2014/main" id="{DC55A217-3FAA-427D-8EC6-2D9DDE71237B}"/>
              </a:ext>
            </a:extLst>
          </p:cNvPr>
          <p:cNvCxnSpPr>
            <a:cxnSpLocks/>
          </p:cNvCxnSpPr>
          <p:nvPr/>
        </p:nvCxnSpPr>
        <p:spPr>
          <a:xfrm>
            <a:off x="6590502" y="3596323"/>
            <a:ext cx="5142371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100">
            <a:extLst>
              <a:ext uri="{FF2B5EF4-FFF2-40B4-BE49-F238E27FC236}">
                <a16:creationId xmlns:a16="http://schemas.microsoft.com/office/drawing/2014/main" id="{3B1D8E64-2505-4015-A9C6-D127370E8BF8}"/>
              </a:ext>
            </a:extLst>
          </p:cNvPr>
          <p:cNvSpPr txBox="1">
            <a:spLocks/>
          </p:cNvSpPr>
          <p:nvPr/>
        </p:nvSpPr>
        <p:spPr bwMode="gray">
          <a:xfrm>
            <a:off x="7970965" y="2746691"/>
            <a:ext cx="3472373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 b="1">
                <a:solidFill>
                  <a:srgbClr val="406B9B"/>
                </a:solidFill>
                <a:latin typeface="Century Gothic"/>
              </a:rPr>
              <a:t>PMI innovative iscritte al Mise </a:t>
            </a:r>
            <a:r>
              <a:rPr lang="it-IT" sz="1400" baseline="30000">
                <a:solidFill>
                  <a:srgbClr val="000000"/>
                </a:solidFill>
                <a:latin typeface="Century Gothic"/>
              </a:rPr>
              <a:t>(1)</a:t>
            </a:r>
            <a:r>
              <a:rPr lang="it-IT" sz="1400">
                <a:solidFill>
                  <a:srgbClr val="000000"/>
                </a:solidFill>
                <a:latin typeface="Century Gothic"/>
              </a:rPr>
              <a:t> </a:t>
            </a:r>
            <a:br>
              <a:rPr lang="it-IT" sz="1400"/>
            </a:br>
            <a:r>
              <a:rPr lang="it-IT" sz="1400">
                <a:solidFill>
                  <a:srgbClr val="000000"/>
                </a:solidFill>
                <a:latin typeface="Century Gothic"/>
              </a:rPr>
              <a:t>al 31/03/2023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942B56DC-0C36-4FB7-835D-762B78524D4A}"/>
              </a:ext>
            </a:extLst>
          </p:cNvPr>
          <p:cNvSpPr/>
          <p:nvPr/>
        </p:nvSpPr>
        <p:spPr>
          <a:xfrm>
            <a:off x="6617997" y="2726698"/>
            <a:ext cx="1107997" cy="530915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857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2.535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F3F40F8D-A681-4476-BB38-B872AC0F555A}"/>
              </a:ext>
            </a:extLst>
          </p:cNvPr>
          <p:cNvSpPr txBox="1"/>
          <p:nvPr/>
        </p:nvSpPr>
        <p:spPr>
          <a:xfrm>
            <a:off x="419805" y="1685287"/>
            <a:ext cx="5512525" cy="390186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it-IT" sz="1400">
                <a:latin typeface="Century Gothic" panose="020B0502020202020204" pitchFamily="34" charset="0"/>
              </a:rPr>
              <a:t>Affrontare le sfide globali richiede un </a:t>
            </a:r>
            <a:r>
              <a:rPr lang="it-IT" sz="1400" b="1">
                <a:latin typeface="Century Gothic" panose="020B0502020202020204" pitchFamily="34" charset="0"/>
              </a:rPr>
              <a:t>approccio collaborativo</a:t>
            </a:r>
            <a:r>
              <a:rPr lang="it-IT" sz="1400">
                <a:latin typeface="Century Gothic" panose="020B0502020202020204" pitchFamily="34" charset="0"/>
              </a:rPr>
              <a:t> e olistico, e l’Open Innovation può fornire la piattaforma per promuovere l'innovazione e trovare soluzioni nuove e sostenibili per un futuro migliore.</a:t>
            </a:r>
          </a:p>
          <a:p>
            <a:endParaRPr lang="it-IT" sz="1400">
              <a:latin typeface="Century Gothic" panose="020B0502020202020204" pitchFamily="34" charset="0"/>
            </a:endParaRP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L’Open Innovation continuerà ad avere </a:t>
            </a:r>
            <a:r>
              <a:rPr lang="it-IT" sz="1400" b="1">
                <a:latin typeface="Century Gothic" panose="020B0502020202020204" pitchFamily="34" charset="0"/>
              </a:rPr>
              <a:t>un ruolo centrale nell’innovazione</a:t>
            </a:r>
            <a:r>
              <a:rPr lang="it-IT" sz="1400">
                <a:latin typeface="Century Gothic" panose="020B0502020202020204" pitchFamily="34" charset="0"/>
              </a:rPr>
              <a:t>: le sfide globali sono sempre più complesse e coinvolgono una varietà di stakeholder, il rapido progresso tecnologico necessita la condivisione di conoscenza e best </a:t>
            </a:r>
            <a:r>
              <a:rPr lang="it-IT" sz="1400" err="1">
                <a:latin typeface="Century Gothic" panose="020B0502020202020204" pitchFamily="34" charset="0"/>
              </a:rPr>
              <a:t>practice</a:t>
            </a:r>
            <a:r>
              <a:rPr lang="it-IT" sz="1400">
                <a:latin typeface="Century Gothic" panose="020B0502020202020204" pitchFamily="34" charset="0"/>
              </a:rPr>
              <a:t>.</a:t>
            </a:r>
          </a:p>
          <a:p>
            <a:endParaRPr lang="it-IT" sz="1400">
              <a:latin typeface="Century Gothic" panose="020B0502020202020204" pitchFamily="34" charset="0"/>
            </a:endParaRPr>
          </a:p>
          <a:p>
            <a:endParaRPr lang="it-IT" sz="1400">
              <a:latin typeface="Century Gothic" panose="020B0502020202020204" pitchFamily="34" charset="0"/>
            </a:endParaRPr>
          </a:p>
          <a:p>
            <a:r>
              <a:rPr lang="it-IT" sz="1400">
                <a:latin typeface="Century Gothic" panose="020B0502020202020204" pitchFamily="34" charset="0"/>
              </a:rPr>
              <a:t>I principali vantaggi di questo approccio sono l’</a:t>
            </a:r>
            <a:r>
              <a:rPr lang="it-IT" sz="1400" b="1">
                <a:latin typeface="Century Gothic" panose="020B0502020202020204" pitchFamily="34" charset="0"/>
              </a:rPr>
              <a:t>accesso a competenze esterne</a:t>
            </a:r>
            <a:r>
              <a:rPr lang="it-IT" sz="1400">
                <a:latin typeface="Century Gothic" panose="020B0502020202020204" pitchFamily="34" charset="0"/>
              </a:rPr>
              <a:t>, la </a:t>
            </a:r>
            <a:r>
              <a:rPr lang="it-IT" sz="1400" b="1">
                <a:latin typeface="Century Gothic" panose="020B0502020202020204" pitchFamily="34" charset="0"/>
              </a:rPr>
              <a:t>velocità</a:t>
            </a:r>
            <a:r>
              <a:rPr lang="it-IT" sz="1400">
                <a:latin typeface="Century Gothic" panose="020B0502020202020204" pitchFamily="34" charset="0"/>
              </a:rPr>
              <a:t> e la </a:t>
            </a:r>
            <a:r>
              <a:rPr lang="it-IT" sz="1400" b="1">
                <a:latin typeface="Century Gothic" panose="020B0502020202020204" pitchFamily="34" charset="0"/>
              </a:rPr>
              <a:t>flessibilità</a:t>
            </a:r>
            <a:r>
              <a:rPr lang="it-IT" sz="1400">
                <a:latin typeface="Century Gothic" panose="020B0502020202020204" pitchFamily="34" charset="0"/>
              </a:rPr>
              <a:t> nell’esecuzione di innovazione, la </a:t>
            </a:r>
            <a:r>
              <a:rPr lang="it-IT" sz="1400" b="1">
                <a:latin typeface="Century Gothic" panose="020B0502020202020204" pitchFamily="34" charset="0"/>
              </a:rPr>
              <a:t>collaborazione interdisciplinare</a:t>
            </a:r>
            <a:r>
              <a:rPr lang="it-IT" sz="1400">
                <a:latin typeface="Century Gothic" panose="020B0502020202020204" pitchFamily="34" charset="0"/>
              </a:rPr>
              <a:t>.</a:t>
            </a:r>
          </a:p>
        </p:txBody>
      </p:sp>
      <p:cxnSp>
        <p:nvCxnSpPr>
          <p:cNvPr id="2" name="Straight Connector 90">
            <a:extLst>
              <a:ext uri="{FF2B5EF4-FFF2-40B4-BE49-F238E27FC236}">
                <a16:creationId xmlns:a16="http://schemas.microsoft.com/office/drawing/2014/main" id="{024CEFA7-EBA2-9226-E775-E84A068CF3BB}"/>
              </a:ext>
            </a:extLst>
          </p:cNvPr>
          <p:cNvCxnSpPr>
            <a:cxnSpLocks/>
          </p:cNvCxnSpPr>
          <p:nvPr/>
        </p:nvCxnSpPr>
        <p:spPr>
          <a:xfrm>
            <a:off x="531367" y="2780642"/>
            <a:ext cx="5400963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90">
            <a:extLst>
              <a:ext uri="{FF2B5EF4-FFF2-40B4-BE49-F238E27FC236}">
                <a16:creationId xmlns:a16="http://schemas.microsoft.com/office/drawing/2014/main" id="{DD5E77F4-D574-ED39-69BC-34C8820C9807}"/>
              </a:ext>
            </a:extLst>
          </p:cNvPr>
          <p:cNvCxnSpPr>
            <a:cxnSpLocks/>
          </p:cNvCxnSpPr>
          <p:nvPr/>
        </p:nvCxnSpPr>
        <p:spPr>
          <a:xfrm>
            <a:off x="531367" y="4323255"/>
            <a:ext cx="5400963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7455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endParaRPr lang="it-IT" sz="3467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7087D08F-4146-DF49-ABEC-89F5A637FC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600"/>
              <a:t>Il nostro ru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9117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tangolo 16">
            <a:hlinkClick r:id="rId3" action="ppaction://hlinksldjump"/>
          </p:cNvPr>
          <p:cNvSpPr/>
          <p:nvPr/>
        </p:nvSpPr>
        <p:spPr>
          <a:xfrm>
            <a:off x="544067" y="3656972"/>
            <a:ext cx="2166301" cy="1414269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</a:rPr>
              <a:t>Attività e prodotti</a:t>
            </a:r>
          </a:p>
        </p:txBody>
      </p:sp>
      <p:sp>
        <p:nvSpPr>
          <p:cNvPr id="2" name="Rettangolo 1">
            <a:hlinkClick r:id="rId4" action="ppaction://hlinksldjump"/>
          </p:cNvPr>
          <p:cNvSpPr/>
          <p:nvPr/>
        </p:nvSpPr>
        <p:spPr>
          <a:xfrm>
            <a:off x="544067" y="2013163"/>
            <a:ext cx="2166301" cy="1414269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</a:rPr>
              <a:t>Presentazione istituzionale</a:t>
            </a:r>
          </a:p>
        </p:txBody>
      </p:sp>
      <p:sp>
        <p:nvSpPr>
          <p:cNvPr id="12" name="Rettangolo 11">
            <a:hlinkClick r:id="rId5" action="ppaction://hlinksldjump"/>
          </p:cNvPr>
          <p:cNvSpPr/>
          <p:nvPr/>
        </p:nvSpPr>
        <p:spPr>
          <a:xfrm>
            <a:off x="2896369" y="2013163"/>
            <a:ext cx="2166301" cy="1414269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</a:rPr>
              <a:t>Scenario</a:t>
            </a:r>
          </a:p>
        </p:txBody>
      </p:sp>
      <p:sp>
        <p:nvSpPr>
          <p:cNvPr id="15" name="Rettangolo 14">
            <a:hlinkClick r:id="rId6" action="ppaction://hlinksldjump"/>
          </p:cNvPr>
          <p:cNvSpPr/>
          <p:nvPr/>
        </p:nvSpPr>
        <p:spPr>
          <a:xfrm>
            <a:off x="5248671" y="2013163"/>
            <a:ext cx="2166301" cy="1414269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</a:rPr>
              <a:t>Il nostro ruolo</a:t>
            </a:r>
          </a:p>
        </p:txBody>
      </p:sp>
      <p:sp>
        <p:nvSpPr>
          <p:cNvPr id="18" name="Rettangolo 17">
            <a:hlinkClick r:id="rId7" action="ppaction://hlinksldjump"/>
          </p:cNvPr>
          <p:cNvSpPr/>
          <p:nvPr/>
        </p:nvSpPr>
        <p:spPr>
          <a:xfrm>
            <a:off x="2906117" y="3649568"/>
            <a:ext cx="2166301" cy="1414269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837">
              <a:solidFill>
                <a:srgbClr val="003A79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 rot="10800000">
            <a:off x="2285751" y="3000981"/>
            <a:ext cx="318164" cy="318164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 rot="10800000">
            <a:off x="4637584" y="3000981"/>
            <a:ext cx="318164" cy="318164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 rot="10800000">
            <a:off x="6980137" y="3000983"/>
            <a:ext cx="318164" cy="318164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Freeform 5"/>
          <p:cNvSpPr>
            <a:spLocks/>
          </p:cNvSpPr>
          <p:nvPr/>
        </p:nvSpPr>
        <p:spPr bwMode="auto">
          <a:xfrm rot="10800000">
            <a:off x="2285751" y="4644886"/>
            <a:ext cx="318164" cy="318164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 rot="10800000">
            <a:off x="4637583" y="4644886"/>
            <a:ext cx="318164" cy="318164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Titolo 1">
            <a:extLst>
              <a:ext uri="{FF2B5EF4-FFF2-40B4-BE49-F238E27FC236}">
                <a16:creationId xmlns:a16="http://schemas.microsoft.com/office/drawing/2014/main" id="{38CFF702-DE2D-C546-8222-18D1BEBB226E}"/>
              </a:ext>
            </a:extLst>
          </p:cNvPr>
          <p:cNvSpPr txBox="1">
            <a:spLocks/>
          </p:cNvSpPr>
          <p:nvPr/>
        </p:nvSpPr>
        <p:spPr>
          <a:xfrm>
            <a:off x="544067" y="374651"/>
            <a:ext cx="10363047" cy="54504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398" b="1" kern="12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5pPr>
            <a:lvl6pPr marL="597469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6pPr>
            <a:lvl7pPr marL="1194938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7pPr>
            <a:lvl8pPr marL="1792407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8pPr>
            <a:lvl9pPr marL="2389876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32962">
              <a:defRPr/>
            </a:pPr>
            <a:r>
              <a:rPr lang="it-IT" sz="2857"/>
              <a:t>Menu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E327F64-DD9B-4DBE-B0A3-16A799371D0F}"/>
              </a:ext>
            </a:extLst>
          </p:cNvPr>
          <p:cNvSpPr txBox="1"/>
          <p:nvPr/>
        </p:nvSpPr>
        <p:spPr>
          <a:xfrm>
            <a:off x="2906118" y="4172036"/>
            <a:ext cx="2156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>
                <a:solidFill>
                  <a:srgbClr val="003A79"/>
                </a:solidFill>
                <a:latin typeface="Century Gothic" panose="020B0502020202020204" pitchFamily="34" charset="0"/>
              </a:rPr>
              <a:t>Intesa Sanpa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68583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49" b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68" y="689916"/>
            <a:ext cx="12190467" cy="56478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/>
              <a:t>Il nostro ruolo nel contesto dell’innovazione del Paese</a:t>
            </a:r>
          </a:p>
        </p:txBody>
      </p:sp>
    </p:spTree>
    <p:extLst>
      <p:ext uri="{BB962C8B-B14F-4D97-AF65-F5344CB8AC3E}">
        <p14:creationId xmlns:p14="http://schemas.microsoft.com/office/powerpoint/2010/main" val="29580999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Pentagono 128">
            <a:extLst>
              <a:ext uri="{FF2B5EF4-FFF2-40B4-BE49-F238E27FC236}">
                <a16:creationId xmlns:a16="http://schemas.microsoft.com/office/drawing/2014/main" id="{5F98D9E8-D761-3342-87A9-DDA693194EA8}"/>
              </a:ext>
            </a:extLst>
          </p:cNvPr>
          <p:cNvSpPr/>
          <p:nvPr/>
        </p:nvSpPr>
        <p:spPr>
          <a:xfrm>
            <a:off x="790337" y="5425199"/>
            <a:ext cx="3478361" cy="728657"/>
          </a:xfrm>
          <a:prstGeom prst="homePlate">
            <a:avLst>
              <a:gd name="adj" fmla="val 1598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8" name="Pentagono 127">
            <a:extLst>
              <a:ext uri="{FF2B5EF4-FFF2-40B4-BE49-F238E27FC236}">
                <a16:creationId xmlns:a16="http://schemas.microsoft.com/office/drawing/2014/main" id="{58F26569-66C8-4545-A4EF-4D43D39D21A3}"/>
              </a:ext>
            </a:extLst>
          </p:cNvPr>
          <p:cNvSpPr/>
          <p:nvPr/>
        </p:nvSpPr>
        <p:spPr>
          <a:xfrm>
            <a:off x="814033" y="4458677"/>
            <a:ext cx="3478361" cy="771823"/>
          </a:xfrm>
          <a:prstGeom prst="homePlate">
            <a:avLst>
              <a:gd name="adj" fmla="val 1598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7" name="Pentagono 126">
            <a:extLst>
              <a:ext uri="{FF2B5EF4-FFF2-40B4-BE49-F238E27FC236}">
                <a16:creationId xmlns:a16="http://schemas.microsoft.com/office/drawing/2014/main" id="{E8999841-62C4-DC4A-864E-6C11346861A3}"/>
              </a:ext>
            </a:extLst>
          </p:cNvPr>
          <p:cNvSpPr/>
          <p:nvPr/>
        </p:nvSpPr>
        <p:spPr>
          <a:xfrm>
            <a:off x="811009" y="3495114"/>
            <a:ext cx="3478361" cy="759694"/>
          </a:xfrm>
          <a:prstGeom prst="homePlate">
            <a:avLst>
              <a:gd name="adj" fmla="val 1598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entagono 6">
            <a:extLst>
              <a:ext uri="{FF2B5EF4-FFF2-40B4-BE49-F238E27FC236}">
                <a16:creationId xmlns:a16="http://schemas.microsoft.com/office/drawing/2014/main" id="{656109B2-642C-5E44-9985-F44E965623C7}"/>
              </a:ext>
            </a:extLst>
          </p:cNvPr>
          <p:cNvSpPr/>
          <p:nvPr/>
        </p:nvSpPr>
        <p:spPr>
          <a:xfrm>
            <a:off x="813405" y="2510740"/>
            <a:ext cx="3478361" cy="759694"/>
          </a:xfrm>
          <a:prstGeom prst="homePlate">
            <a:avLst>
              <a:gd name="adj" fmla="val 1598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0" name="Rettangolo con angoli arrotondati 119">
            <a:extLst>
              <a:ext uri="{FF2B5EF4-FFF2-40B4-BE49-F238E27FC236}">
                <a16:creationId xmlns:a16="http://schemas.microsoft.com/office/drawing/2014/main" id="{9F0F09AB-F241-9A4C-9169-CFCEA8759C66}"/>
              </a:ext>
            </a:extLst>
          </p:cNvPr>
          <p:cNvSpPr/>
          <p:nvPr/>
        </p:nvSpPr>
        <p:spPr>
          <a:xfrm>
            <a:off x="790817" y="5430909"/>
            <a:ext cx="4916307" cy="724768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406B9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98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8" name="Rettangolo con angoli arrotondati 117">
            <a:extLst>
              <a:ext uri="{FF2B5EF4-FFF2-40B4-BE49-F238E27FC236}">
                <a16:creationId xmlns:a16="http://schemas.microsoft.com/office/drawing/2014/main" id="{482440C3-7CDA-4541-88E2-AF34ECD21486}"/>
              </a:ext>
            </a:extLst>
          </p:cNvPr>
          <p:cNvSpPr/>
          <p:nvPr/>
        </p:nvSpPr>
        <p:spPr>
          <a:xfrm>
            <a:off x="819244" y="2510740"/>
            <a:ext cx="4916307" cy="759694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406B9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9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3" name="Rettangolo con angoli arrotondati 102">
            <a:extLst>
              <a:ext uri="{FF2B5EF4-FFF2-40B4-BE49-F238E27FC236}">
                <a16:creationId xmlns:a16="http://schemas.microsoft.com/office/drawing/2014/main" id="{15DDE063-EF1B-454D-BDEC-F70AD645730C}"/>
              </a:ext>
            </a:extLst>
          </p:cNvPr>
          <p:cNvSpPr/>
          <p:nvPr/>
        </p:nvSpPr>
        <p:spPr>
          <a:xfrm>
            <a:off x="813404" y="3495114"/>
            <a:ext cx="4916307" cy="759694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406B9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98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TextBox 109">
            <a:extLst>
              <a:ext uri="{FF2B5EF4-FFF2-40B4-BE49-F238E27FC236}">
                <a16:creationId xmlns:a16="http://schemas.microsoft.com/office/drawing/2014/main" id="{BE3373E0-6851-4570-A2DC-2B3A0B6DF171}"/>
              </a:ext>
            </a:extLst>
          </p:cNvPr>
          <p:cNvSpPr txBox="1">
            <a:spLocks/>
          </p:cNvSpPr>
          <p:nvPr/>
        </p:nvSpPr>
        <p:spPr bwMode="gray">
          <a:xfrm>
            <a:off x="2282308" y="1598720"/>
            <a:ext cx="582921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3600" b="1" kern="0">
                <a:solidFill>
                  <a:srgbClr val="406B9B"/>
                </a:solidFill>
                <a:ea typeface="MS PGothic" panose="020B0600070205080204" pitchFamily="34" charset="-128"/>
              </a:rPr>
              <a:t>68</a:t>
            </a:r>
            <a:endParaRPr lang="it-IT" sz="3600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" name="TextBox 110">
            <a:extLst>
              <a:ext uri="{FF2B5EF4-FFF2-40B4-BE49-F238E27FC236}">
                <a16:creationId xmlns:a16="http://schemas.microsoft.com/office/drawing/2014/main" id="{7AFBE18E-8F88-46A2-9055-FB8D76A5DC3A}"/>
              </a:ext>
            </a:extLst>
          </p:cNvPr>
          <p:cNvSpPr txBox="1">
            <a:spLocks/>
          </p:cNvSpPr>
          <p:nvPr/>
        </p:nvSpPr>
        <p:spPr bwMode="gray">
          <a:xfrm>
            <a:off x="2383629" y="1765672"/>
            <a:ext cx="180909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1600" kern="0">
                <a:solidFill>
                  <a:srgbClr val="000000"/>
                </a:solidFill>
                <a:ea typeface="MS PGothic" panose="020B0600070205080204" pitchFamily="34" charset="-128"/>
              </a:rPr>
              <a:t>Partner</a:t>
            </a:r>
            <a:endParaRPr lang="it-IT" sz="1600" b="1" kern="0">
              <a:solidFill>
                <a:srgbClr val="406B9B"/>
              </a:solidFill>
              <a:ea typeface="MS PGothic" panose="020B0600070205080204" pitchFamily="34" charset="-128"/>
            </a:endParaRPr>
          </a:p>
        </p:txBody>
      </p:sp>
      <p:sp>
        <p:nvSpPr>
          <p:cNvPr id="31" name="TextBox 112">
            <a:extLst>
              <a:ext uri="{FF2B5EF4-FFF2-40B4-BE49-F238E27FC236}">
                <a16:creationId xmlns:a16="http://schemas.microsoft.com/office/drawing/2014/main" id="{1698C653-F6B1-4B9B-AA0F-00E660749CBF}"/>
              </a:ext>
            </a:extLst>
          </p:cNvPr>
          <p:cNvSpPr txBox="1">
            <a:spLocks/>
          </p:cNvSpPr>
          <p:nvPr/>
        </p:nvSpPr>
        <p:spPr bwMode="gray">
          <a:xfrm>
            <a:off x="1287638" y="2756032"/>
            <a:ext cx="2879959" cy="306044"/>
          </a:xfrm>
          <a:prstGeom prst="rect">
            <a:avLst/>
          </a:prstGeom>
        </p:spPr>
        <p:txBody>
          <a:bodyPr lIns="0" tIns="0" rIns="0" bIns="0"/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Centri Ricerca e Università</a:t>
            </a:r>
          </a:p>
        </p:txBody>
      </p:sp>
      <p:sp>
        <p:nvSpPr>
          <p:cNvPr id="75" name="TextBox 109">
            <a:extLst>
              <a:ext uri="{FF2B5EF4-FFF2-40B4-BE49-F238E27FC236}">
                <a16:creationId xmlns:a16="http://schemas.microsoft.com/office/drawing/2014/main" id="{4F0DEBBB-1388-4319-83B9-F0E761111E55}"/>
              </a:ext>
            </a:extLst>
          </p:cNvPr>
          <p:cNvSpPr txBox="1">
            <a:spLocks/>
          </p:cNvSpPr>
          <p:nvPr/>
        </p:nvSpPr>
        <p:spPr bwMode="gray">
          <a:xfrm>
            <a:off x="4881561" y="3661490"/>
            <a:ext cx="205184" cy="43967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2857" b="1" kern="0">
                <a:solidFill>
                  <a:srgbClr val="406B9B"/>
                </a:solidFill>
                <a:ea typeface="MS PGothic" panose="020B0600070205080204" pitchFamily="34" charset="-128"/>
              </a:rPr>
              <a:t>4</a:t>
            </a:r>
            <a:endParaRPr lang="it-IT" sz="2857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76" name="TextBox 109">
            <a:extLst>
              <a:ext uri="{FF2B5EF4-FFF2-40B4-BE49-F238E27FC236}">
                <a16:creationId xmlns:a16="http://schemas.microsoft.com/office/drawing/2014/main" id="{2930A299-515F-470B-87B5-9476CEB9597A}"/>
              </a:ext>
            </a:extLst>
          </p:cNvPr>
          <p:cNvSpPr txBox="1">
            <a:spLocks/>
          </p:cNvSpPr>
          <p:nvPr/>
        </p:nvSpPr>
        <p:spPr bwMode="gray">
          <a:xfrm>
            <a:off x="4881561" y="2670751"/>
            <a:ext cx="205184" cy="43967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2857" b="1" kern="0">
                <a:solidFill>
                  <a:srgbClr val="406B9B"/>
                </a:solidFill>
                <a:ea typeface="MS PGothic" panose="020B0600070205080204" pitchFamily="34" charset="-128"/>
              </a:rPr>
              <a:t>9</a:t>
            </a:r>
            <a:endParaRPr lang="it-IT" sz="2857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77" name="TextBox 109">
            <a:extLst>
              <a:ext uri="{FF2B5EF4-FFF2-40B4-BE49-F238E27FC236}">
                <a16:creationId xmlns:a16="http://schemas.microsoft.com/office/drawing/2014/main" id="{B824737E-2A08-42AA-8C71-82C2B82FF12C}"/>
              </a:ext>
            </a:extLst>
          </p:cNvPr>
          <p:cNvSpPr txBox="1">
            <a:spLocks/>
          </p:cNvSpPr>
          <p:nvPr/>
        </p:nvSpPr>
        <p:spPr bwMode="gray">
          <a:xfrm>
            <a:off x="4778968" y="4616647"/>
            <a:ext cx="410370" cy="43967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2857" b="1" kern="0">
                <a:solidFill>
                  <a:srgbClr val="406B9B"/>
                </a:solidFill>
                <a:ea typeface="MS PGothic" panose="020B0600070205080204" pitchFamily="34" charset="-128"/>
              </a:rPr>
              <a:t>22</a:t>
            </a:r>
            <a:endParaRPr lang="it-IT" sz="2857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54" name="TextBox 109">
            <a:extLst>
              <a:ext uri="{FF2B5EF4-FFF2-40B4-BE49-F238E27FC236}">
                <a16:creationId xmlns:a16="http://schemas.microsoft.com/office/drawing/2014/main" id="{AA8AD9CA-BF12-40B5-B739-C0A47CA146B3}"/>
              </a:ext>
            </a:extLst>
          </p:cNvPr>
          <p:cNvSpPr txBox="1">
            <a:spLocks/>
          </p:cNvSpPr>
          <p:nvPr/>
        </p:nvSpPr>
        <p:spPr bwMode="gray">
          <a:xfrm>
            <a:off x="4778968" y="5591903"/>
            <a:ext cx="410370" cy="43967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2857" b="1" kern="0">
                <a:solidFill>
                  <a:srgbClr val="406B9B"/>
                </a:solidFill>
                <a:ea typeface="MS PGothic" panose="020B0600070205080204" pitchFamily="34" charset="-128"/>
              </a:rPr>
              <a:t>33</a:t>
            </a:r>
            <a:endParaRPr lang="it-IT" sz="2857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6179" name="Gruppo 26">
            <a:extLst>
              <a:ext uri="{FF2B5EF4-FFF2-40B4-BE49-F238E27FC236}">
                <a16:creationId xmlns:a16="http://schemas.microsoft.com/office/drawing/2014/main" id="{E8AE72E8-9E5B-CE41-AFFE-C27553043B56}"/>
              </a:ext>
            </a:extLst>
          </p:cNvPr>
          <p:cNvGrpSpPr>
            <a:grpSpLocks/>
          </p:cNvGrpSpPr>
          <p:nvPr/>
        </p:nvGrpSpPr>
        <p:grpSpPr bwMode="auto">
          <a:xfrm>
            <a:off x="429090" y="2514795"/>
            <a:ext cx="755639" cy="755639"/>
            <a:chOff x="575035" y="567146"/>
            <a:chExt cx="756004" cy="755309"/>
          </a:xfrm>
          <a:effectLst/>
        </p:grpSpPr>
        <p:sp>
          <p:nvSpPr>
            <p:cNvPr id="87" name="Ovale 86">
              <a:extLst>
                <a:ext uri="{FF2B5EF4-FFF2-40B4-BE49-F238E27FC236}">
                  <a16:creationId xmlns:a16="http://schemas.microsoft.com/office/drawing/2014/main" id="{6B71720F-6390-4EA2-8745-FF36DDF1EF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5035" y="567146"/>
              <a:ext cx="756004" cy="75530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9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88" name="Immagine 87">
              <a:extLst>
                <a:ext uri="{FF2B5EF4-FFF2-40B4-BE49-F238E27FC236}">
                  <a16:creationId xmlns:a16="http://schemas.microsoft.com/office/drawing/2014/main" id="{893314D4-0726-4294-AB55-A9DF9BF76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1506" y="672803"/>
              <a:ext cx="508988" cy="508988"/>
            </a:xfrm>
            <a:prstGeom prst="rect">
              <a:avLst/>
            </a:prstGeom>
          </p:spPr>
        </p:pic>
      </p:grpSp>
      <p:sp>
        <p:nvSpPr>
          <p:cNvPr id="62" name="TextBox 112">
            <a:extLst>
              <a:ext uri="{FF2B5EF4-FFF2-40B4-BE49-F238E27FC236}">
                <a16:creationId xmlns:a16="http://schemas.microsoft.com/office/drawing/2014/main" id="{16ECBAA8-86A7-4557-8CAA-6488D40338AC}"/>
              </a:ext>
            </a:extLst>
          </p:cNvPr>
          <p:cNvSpPr txBox="1">
            <a:spLocks/>
          </p:cNvSpPr>
          <p:nvPr/>
        </p:nvSpPr>
        <p:spPr bwMode="gray">
          <a:xfrm>
            <a:off x="1287638" y="3756852"/>
            <a:ext cx="1179495" cy="223113"/>
          </a:xfrm>
          <a:prstGeom prst="rect">
            <a:avLst/>
          </a:prstGeom>
        </p:spPr>
        <p:txBody>
          <a:bodyPr lIns="0" tIns="0" rIns="0" bIns="0"/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Aziende</a:t>
            </a: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970C2CAA-FEEC-FD40-AE45-580247845B23}"/>
              </a:ext>
            </a:extLst>
          </p:cNvPr>
          <p:cNvGrpSpPr/>
          <p:nvPr/>
        </p:nvGrpSpPr>
        <p:grpSpPr>
          <a:xfrm>
            <a:off x="446697" y="3499169"/>
            <a:ext cx="755639" cy="755639"/>
            <a:chOff x="85725" y="2262188"/>
            <a:chExt cx="755650" cy="755650"/>
          </a:xfrm>
        </p:grpSpPr>
        <p:sp>
          <p:nvSpPr>
            <p:cNvPr id="93" name="Ovale 92">
              <a:extLst>
                <a:ext uri="{FF2B5EF4-FFF2-40B4-BE49-F238E27FC236}">
                  <a16:creationId xmlns:a16="http://schemas.microsoft.com/office/drawing/2014/main" id="{3B59DBA2-B71E-4BAF-BF46-33C3FB5F95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725" y="2262188"/>
              <a:ext cx="755650" cy="7556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9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4" name="Immagine 93">
              <a:extLst>
                <a:ext uri="{FF2B5EF4-FFF2-40B4-BE49-F238E27FC236}">
                  <a16:creationId xmlns:a16="http://schemas.microsoft.com/office/drawing/2014/main" id="{BBA2110A-374A-4C20-86E5-086834688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347" y="2422095"/>
              <a:ext cx="424343" cy="424343"/>
            </a:xfrm>
            <a:prstGeom prst="rect">
              <a:avLst/>
            </a:prstGeom>
          </p:spPr>
        </p:pic>
      </p:grpSp>
      <p:sp>
        <p:nvSpPr>
          <p:cNvPr id="99" name="Rettangolo con angoli arrotondati 98">
            <a:extLst>
              <a:ext uri="{FF2B5EF4-FFF2-40B4-BE49-F238E27FC236}">
                <a16:creationId xmlns:a16="http://schemas.microsoft.com/office/drawing/2014/main" id="{0ADEE555-C09E-4BCB-A302-7EE7D7670B74}"/>
              </a:ext>
            </a:extLst>
          </p:cNvPr>
          <p:cNvSpPr/>
          <p:nvPr/>
        </p:nvSpPr>
        <p:spPr>
          <a:xfrm>
            <a:off x="813405" y="4462681"/>
            <a:ext cx="4916307" cy="761233"/>
          </a:xfrm>
          <a:prstGeom prst="roundRect">
            <a:avLst>
              <a:gd name="adj" fmla="val 0"/>
            </a:avLst>
          </a:prstGeom>
          <a:noFill/>
          <a:ln w="3175">
            <a:solidFill>
              <a:srgbClr val="406B9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98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4" name="TextBox 112">
            <a:extLst>
              <a:ext uri="{FF2B5EF4-FFF2-40B4-BE49-F238E27FC236}">
                <a16:creationId xmlns:a16="http://schemas.microsoft.com/office/drawing/2014/main" id="{F8DC7E76-66D4-4EB5-9E71-C9D59D56576F}"/>
              </a:ext>
            </a:extLst>
          </p:cNvPr>
          <p:cNvSpPr txBox="1">
            <a:spLocks/>
          </p:cNvSpPr>
          <p:nvPr/>
        </p:nvSpPr>
        <p:spPr bwMode="gray">
          <a:xfrm>
            <a:off x="1287638" y="4579459"/>
            <a:ext cx="2500359" cy="573226"/>
          </a:xfrm>
          <a:prstGeom prst="rect">
            <a:avLst/>
          </a:prstGeom>
        </p:spPr>
        <p:txBody>
          <a:bodyPr lIns="0" tIns="0" rIns="0" bIns="0"/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Incubatori, Acceleratori </a:t>
            </a:r>
            <a:b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</a:b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e Investitori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F85DB514-D6F1-4844-9A56-22C05E6223DC}"/>
              </a:ext>
            </a:extLst>
          </p:cNvPr>
          <p:cNvGrpSpPr/>
          <p:nvPr/>
        </p:nvGrpSpPr>
        <p:grpSpPr>
          <a:xfrm>
            <a:off x="421465" y="4468274"/>
            <a:ext cx="755639" cy="755639"/>
            <a:chOff x="112713" y="3443288"/>
            <a:chExt cx="755650" cy="755650"/>
          </a:xfrm>
        </p:grpSpPr>
        <p:sp>
          <p:nvSpPr>
            <p:cNvPr id="91" name="Ovale 90">
              <a:extLst>
                <a:ext uri="{FF2B5EF4-FFF2-40B4-BE49-F238E27FC236}">
                  <a16:creationId xmlns:a16="http://schemas.microsoft.com/office/drawing/2014/main" id="{C0E69868-3EA9-4B24-B423-A56F9A9883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713" y="3443288"/>
              <a:ext cx="755650" cy="7556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9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2" name="Immagine 91">
              <a:extLst>
                <a:ext uri="{FF2B5EF4-FFF2-40B4-BE49-F238E27FC236}">
                  <a16:creationId xmlns:a16="http://schemas.microsoft.com/office/drawing/2014/main" id="{A39DE097-BB6D-48EB-A38C-03677732A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43777" y="3572724"/>
              <a:ext cx="479241" cy="479241"/>
            </a:xfrm>
            <a:prstGeom prst="rect">
              <a:avLst/>
            </a:prstGeom>
          </p:spPr>
        </p:pic>
      </p:grpSp>
      <p:sp>
        <p:nvSpPr>
          <p:cNvPr id="68" name="TextBox 112">
            <a:extLst>
              <a:ext uri="{FF2B5EF4-FFF2-40B4-BE49-F238E27FC236}">
                <a16:creationId xmlns:a16="http://schemas.microsoft.com/office/drawing/2014/main" id="{F10E5A26-BA4B-499A-8FE6-75710E1D2FFE}"/>
              </a:ext>
            </a:extLst>
          </p:cNvPr>
          <p:cNvSpPr txBox="1">
            <a:spLocks/>
          </p:cNvSpPr>
          <p:nvPr/>
        </p:nvSpPr>
        <p:spPr bwMode="gray">
          <a:xfrm>
            <a:off x="1287638" y="5533713"/>
            <a:ext cx="2796469" cy="522279"/>
          </a:xfrm>
          <a:prstGeom prst="rect">
            <a:avLst/>
          </a:prstGeom>
        </p:spPr>
        <p:txBody>
          <a:bodyPr lIns="0" tIns="0" rIns="0" bIns="0"/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193855">
              <a:spcBef>
                <a:spcPts val="600"/>
              </a:spcBef>
              <a:buClr>
                <a:srgbClr val="003A79"/>
              </a:buClr>
              <a:defRPr/>
            </a:pP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Istituzioni, Associazioni </a:t>
            </a:r>
            <a:b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</a:br>
            <a:r>
              <a:rPr lang="it-IT" sz="1700" b="1" kern="0">
                <a:solidFill>
                  <a:srgbClr val="FFFFFF"/>
                </a:solidFill>
                <a:ea typeface="MS PGothic" panose="020B0600070205080204" pitchFamily="34" charset="-128"/>
              </a:rPr>
              <a:t>e altri Enti</a:t>
            </a:r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9035076F-8AE6-FD46-936E-2B701E93B5B6}"/>
              </a:ext>
            </a:extLst>
          </p:cNvPr>
          <p:cNvGrpSpPr/>
          <p:nvPr/>
        </p:nvGrpSpPr>
        <p:grpSpPr>
          <a:xfrm>
            <a:off x="432411" y="5431786"/>
            <a:ext cx="725476" cy="723890"/>
            <a:chOff x="134938" y="5091113"/>
            <a:chExt cx="725487" cy="723900"/>
          </a:xfrm>
        </p:grpSpPr>
        <p:sp>
          <p:nvSpPr>
            <p:cNvPr id="89" name="Ovale 88">
              <a:extLst>
                <a:ext uri="{FF2B5EF4-FFF2-40B4-BE49-F238E27FC236}">
                  <a16:creationId xmlns:a16="http://schemas.microsoft.com/office/drawing/2014/main" id="{46098A5C-FC51-478A-8B9A-6CC49974DA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4938" y="5091113"/>
              <a:ext cx="725487" cy="723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9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0" name="Immagine 89">
              <a:extLst>
                <a:ext uri="{FF2B5EF4-FFF2-40B4-BE49-F238E27FC236}">
                  <a16:creationId xmlns:a16="http://schemas.microsoft.com/office/drawing/2014/main" id="{DFF63E2B-D010-4963-8040-A01125522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918" y="5140785"/>
              <a:ext cx="511800" cy="511800"/>
            </a:xfrm>
            <a:prstGeom prst="rect">
              <a:avLst/>
            </a:prstGeom>
          </p:spPr>
        </p:pic>
      </p:grpSp>
      <p:sp>
        <p:nvSpPr>
          <p:cNvPr id="79" name="Title 1">
            <a:extLst>
              <a:ext uri="{FF2B5EF4-FFF2-40B4-BE49-F238E27FC236}">
                <a16:creationId xmlns:a16="http://schemas.microsoft.com/office/drawing/2014/main" id="{14AB1BE3-0A85-6B41-A78F-9738AC2BCEB7}"/>
              </a:ext>
            </a:extLst>
          </p:cNvPr>
          <p:cNvSpPr txBox="1">
            <a:spLocks/>
          </p:cNvSpPr>
          <p:nvPr/>
        </p:nvSpPr>
        <p:spPr bwMode="gray">
          <a:xfrm>
            <a:off x="531367" y="296032"/>
            <a:ext cx="10363047" cy="416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600" b="1" baseline="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  <a:sym typeface="Century Gothic" panose="020B0502020202020204" pitchFamily="34" charset="0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93855" fontAlgn="auto">
              <a:spcBef>
                <a:spcPts val="600"/>
              </a:spcBef>
              <a:spcAft>
                <a:spcPts val="0"/>
              </a:spcAft>
              <a:buClr>
                <a:srgbClr val="003A79"/>
              </a:buClr>
              <a:tabLst>
                <a:tab pos="367156" algn="l"/>
              </a:tabLst>
              <a:defRPr/>
            </a:pPr>
            <a:r>
              <a:rPr lang="it-IT" sz="2653" kern="0">
                <a:solidFill>
                  <a:schemeClr val="tx2"/>
                </a:solidFill>
                <a:ea typeface="MS PGothic" panose="020B0600070205080204" pitchFamily="34" charset="-128"/>
              </a:rPr>
              <a:t>Le partnership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19FFA7DA-133F-624A-A94B-180862364058}"/>
              </a:ext>
            </a:extLst>
          </p:cNvPr>
          <p:cNvSpPr/>
          <p:nvPr/>
        </p:nvSpPr>
        <p:spPr>
          <a:xfrm>
            <a:off x="444174" y="837292"/>
            <a:ext cx="4153701" cy="4063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 kern="0">
                <a:solidFill>
                  <a:srgbClr val="003A79"/>
                </a:solidFill>
                <a:latin typeface="Century Gothic" panose="020B0502020202020204" pitchFamily="34" charset="0"/>
                <a:ea typeface="MS PGothic" panose="020B0600070205080204" pitchFamily="34" charset="-128"/>
                <a:sym typeface="Century Gothic" panose="020B0502020202020204" pitchFamily="34" charset="0"/>
              </a:rPr>
              <a:t>Partnership attive al 30/06/2023</a:t>
            </a:r>
          </a:p>
        </p:txBody>
      </p:sp>
      <p:sp>
        <p:nvSpPr>
          <p:cNvPr id="132" name="Rettangolo 131">
            <a:extLst>
              <a:ext uri="{FF2B5EF4-FFF2-40B4-BE49-F238E27FC236}">
                <a16:creationId xmlns:a16="http://schemas.microsoft.com/office/drawing/2014/main" id="{22EB4E74-9464-3449-96B0-A8A5D8100F99}"/>
              </a:ext>
            </a:extLst>
          </p:cNvPr>
          <p:cNvSpPr/>
          <p:nvPr/>
        </p:nvSpPr>
        <p:spPr>
          <a:xfrm>
            <a:off x="6337890" y="839196"/>
            <a:ext cx="4818696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 kern="0">
                <a:solidFill>
                  <a:srgbClr val="003A79"/>
                </a:solidFill>
                <a:latin typeface="Century Gothic" panose="020B0502020202020204" pitchFamily="34" charset="0"/>
                <a:ea typeface="MS PGothic" panose="020B0600070205080204" pitchFamily="34" charset="-128"/>
                <a:sym typeface="Century Gothic" panose="020B0502020202020204" pitchFamily="34" charset="0"/>
              </a:rPr>
              <a:t>Partnership per cluster di riferimento</a:t>
            </a:r>
          </a:p>
        </p:txBody>
      </p:sp>
      <p:cxnSp>
        <p:nvCxnSpPr>
          <p:cNvPr id="147" name="Straight Connector 116">
            <a:extLst>
              <a:ext uri="{FF2B5EF4-FFF2-40B4-BE49-F238E27FC236}">
                <a16:creationId xmlns:a16="http://schemas.microsoft.com/office/drawing/2014/main" id="{C491F3D7-4895-294E-8510-8DB6BA07EBE2}"/>
              </a:ext>
            </a:extLst>
          </p:cNvPr>
          <p:cNvCxnSpPr>
            <a:cxnSpLocks/>
          </p:cNvCxnSpPr>
          <p:nvPr/>
        </p:nvCxnSpPr>
        <p:spPr>
          <a:xfrm flipV="1">
            <a:off x="6096000" y="881333"/>
            <a:ext cx="0" cy="5624166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FFC2AE42-3ED3-BE4D-9C95-64E3CEBB32A8}"/>
              </a:ext>
            </a:extLst>
          </p:cNvPr>
          <p:cNvGrpSpPr/>
          <p:nvPr/>
        </p:nvGrpSpPr>
        <p:grpSpPr>
          <a:xfrm>
            <a:off x="6351968" y="2461903"/>
            <a:ext cx="5697345" cy="4165151"/>
            <a:chOff x="6437310" y="1710897"/>
            <a:chExt cx="5583925" cy="4082234"/>
          </a:xfrm>
        </p:grpSpPr>
        <p:graphicFrame>
          <p:nvGraphicFramePr>
            <p:cNvPr id="8" name="Grafico 7">
              <a:extLst>
                <a:ext uri="{FF2B5EF4-FFF2-40B4-BE49-F238E27FC236}">
                  <a16:creationId xmlns:a16="http://schemas.microsoft.com/office/drawing/2014/main" id="{7A1CE5AB-A520-A749-9679-951688338BE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04194282"/>
                </p:ext>
              </p:extLst>
            </p:nvPr>
          </p:nvGraphicFramePr>
          <p:xfrm>
            <a:off x="6437310" y="2179488"/>
            <a:ext cx="4961101" cy="36136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13" name="Gruppo 12">
              <a:extLst>
                <a:ext uri="{FF2B5EF4-FFF2-40B4-BE49-F238E27FC236}">
                  <a16:creationId xmlns:a16="http://schemas.microsoft.com/office/drawing/2014/main" id="{F01C9951-A170-404C-9E53-504E6D439A8D}"/>
                </a:ext>
              </a:extLst>
            </p:cNvPr>
            <p:cNvGrpSpPr/>
            <p:nvPr/>
          </p:nvGrpSpPr>
          <p:grpSpPr>
            <a:xfrm>
              <a:off x="6437310" y="1710897"/>
              <a:ext cx="5583925" cy="2949621"/>
              <a:chOff x="6437310" y="1710897"/>
              <a:chExt cx="5583925" cy="2949621"/>
            </a:xfrm>
          </p:grpSpPr>
          <p:sp>
            <p:nvSpPr>
              <p:cNvPr id="133" name="TextBox 112">
                <a:extLst>
                  <a:ext uri="{FF2B5EF4-FFF2-40B4-BE49-F238E27FC236}">
                    <a16:creationId xmlns:a16="http://schemas.microsoft.com/office/drawing/2014/main" id="{41410E1E-3A6D-E94F-BE37-62A33B3BE08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627773" y="1710897"/>
                <a:ext cx="1233056" cy="513438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Sviluppo Know How e proprietà intellettuale</a:t>
                </a:r>
              </a:p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30%</a:t>
                </a:r>
              </a:p>
            </p:txBody>
          </p:sp>
          <p:sp>
            <p:nvSpPr>
              <p:cNvPr id="134" name="TextBox 112">
                <a:extLst>
                  <a:ext uri="{FF2B5EF4-FFF2-40B4-BE49-F238E27FC236}">
                    <a16:creationId xmlns:a16="http://schemas.microsoft.com/office/drawing/2014/main" id="{50F497D6-4C1E-104D-888F-C06025E97927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626532" y="3614768"/>
                <a:ext cx="1394703" cy="513438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b="1" kern="0" err="1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Reputation</a:t>
                </a:r>
                <a: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 e networking</a:t>
                </a:r>
              </a:p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25%</a:t>
                </a:r>
              </a:p>
            </p:txBody>
          </p:sp>
          <p:sp>
            <p:nvSpPr>
              <p:cNvPr id="135" name="TextBox 112">
                <a:extLst>
                  <a:ext uri="{FF2B5EF4-FFF2-40B4-BE49-F238E27FC236}">
                    <a16:creationId xmlns:a16="http://schemas.microsoft.com/office/drawing/2014/main" id="{6C49113B-77A1-264B-88BB-A3F6D248A77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440379" y="3614768"/>
                <a:ext cx="1488974" cy="513438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b="1" kern="0" err="1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Deal</a:t>
                </a:r>
                <a: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 flow e supporto alla</a:t>
                </a:r>
                <a:b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</a:br>
                <a: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imprenditorialità</a:t>
                </a:r>
              </a:p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40%</a:t>
                </a:r>
              </a:p>
            </p:txBody>
          </p:sp>
          <p:sp>
            <p:nvSpPr>
              <p:cNvPr id="136" name="TextBox 112">
                <a:extLst>
                  <a:ext uri="{FF2B5EF4-FFF2-40B4-BE49-F238E27FC236}">
                    <a16:creationId xmlns:a16="http://schemas.microsoft.com/office/drawing/2014/main" id="{D5652879-E6C1-884E-B13A-8BD9C68E4D3D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481944" y="1710897"/>
                <a:ext cx="1488973" cy="513438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b="1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Supporto al business </a:t>
                </a:r>
                <a:r>
                  <a:rPr lang="it-IT" sz="1400" b="1" kern="0" err="1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development</a:t>
                </a:r>
                <a:endParaRPr lang="it-IT" sz="1400" b="1" kern="0">
                  <a:solidFill>
                    <a:srgbClr val="406B9B"/>
                  </a:solidFill>
                  <a:ea typeface="MS PGothic" panose="020B0600070205080204" pitchFamily="34" charset="-128"/>
                </a:endParaRPr>
              </a:p>
              <a:p>
                <a:pPr defTabSz="1193855">
                  <a:spcBef>
                    <a:spcPts val="600"/>
                  </a:spcBef>
                  <a:buClr>
                    <a:srgbClr val="003A79"/>
                  </a:buClr>
                  <a:defRPr/>
                </a:pPr>
                <a:r>
                  <a:rPr lang="it-IT" sz="1400" kern="0">
                    <a:solidFill>
                      <a:srgbClr val="406B9B"/>
                    </a:solidFill>
                    <a:ea typeface="MS PGothic" panose="020B0600070205080204" pitchFamily="34" charset="-128"/>
                  </a:rPr>
                  <a:t>5%</a:t>
                </a:r>
              </a:p>
            </p:txBody>
          </p:sp>
          <p:cxnSp>
            <p:nvCxnSpPr>
              <p:cNvPr id="17" name="Connettore 1 16">
                <a:extLst>
                  <a:ext uri="{FF2B5EF4-FFF2-40B4-BE49-F238E27FC236}">
                    <a16:creationId xmlns:a16="http://schemas.microsoft.com/office/drawing/2014/main" id="{5C5FC2A3-250E-064A-B7AE-E8B897772F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01200" y="2897128"/>
                <a:ext cx="2258133" cy="0"/>
              </a:xfrm>
              <a:prstGeom prst="line">
                <a:avLst/>
              </a:prstGeom>
              <a:ln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Connettore 1 138">
                <a:extLst>
                  <a:ext uri="{FF2B5EF4-FFF2-40B4-BE49-F238E27FC236}">
                    <a16:creationId xmlns:a16="http://schemas.microsoft.com/office/drawing/2014/main" id="{20D8868B-E798-254D-A73F-847B7EBF55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437310" y="4660518"/>
                <a:ext cx="2135202" cy="0"/>
              </a:xfrm>
              <a:prstGeom prst="line">
                <a:avLst/>
              </a:prstGeom>
              <a:ln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nettore 1 69">
                <a:extLst>
                  <a:ext uri="{FF2B5EF4-FFF2-40B4-BE49-F238E27FC236}">
                    <a16:creationId xmlns:a16="http://schemas.microsoft.com/office/drawing/2014/main" id="{93B5E409-AED8-D149-A5E3-B2EB564529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67736" y="4660518"/>
                <a:ext cx="2733163" cy="0"/>
              </a:xfrm>
              <a:prstGeom prst="line">
                <a:avLst/>
              </a:prstGeom>
              <a:ln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nettore 1 72">
                <a:extLst>
                  <a:ext uri="{FF2B5EF4-FFF2-40B4-BE49-F238E27FC236}">
                    <a16:creationId xmlns:a16="http://schemas.microsoft.com/office/drawing/2014/main" id="{C2B5DD34-C77F-364B-9DBD-98773B48B8A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437310" y="2897128"/>
                <a:ext cx="2503542" cy="0"/>
              </a:xfrm>
              <a:prstGeom prst="line">
                <a:avLst/>
              </a:prstGeom>
              <a:ln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02" name="Immagine 101">
            <a:extLst>
              <a:ext uri="{FF2B5EF4-FFF2-40B4-BE49-F238E27FC236}">
                <a16:creationId xmlns:a16="http://schemas.microsoft.com/office/drawing/2014/main" id="{65E2C8C4-13CA-A542-B383-AB85CE31FE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2925542" y="2035953"/>
            <a:ext cx="115576" cy="48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0848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C8E06C-C906-4ACC-BD55-86E6D06DBD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C8E06C-C906-4ACC-BD55-86E6D06D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E12B6D-88BE-4300-8EBA-1DCD497E8A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2449" b="1" err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EC6F00-6900-44AB-8CCC-052A6D9B727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31367" y="366714"/>
            <a:ext cx="10363047" cy="734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it-IT"/>
              <a:t>Supporto alla crescita del Sistema Paese e dei Territori - Startup </a:t>
            </a:r>
            <a:br>
              <a:rPr lang="it-IT"/>
            </a:b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2"/>
          </p:nvPr>
        </p:nvSpPr>
        <p:spPr>
          <a:xfrm>
            <a:off x="531369" y="860426"/>
            <a:ext cx="8860236" cy="292373"/>
          </a:xfrm>
        </p:spPr>
        <p:txBody>
          <a:bodyPr/>
          <a:lstStyle/>
          <a:p>
            <a:r>
              <a:rPr lang="it-IT" sz="2000"/>
              <a:t>Valutazione e valorizzazione del potenziale di crescita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B66EF119-0E02-4B08-80E9-EBBA14CCF994}"/>
              </a:ext>
            </a:extLst>
          </p:cNvPr>
          <p:cNvSpPr txBox="1">
            <a:spLocks/>
          </p:cNvSpPr>
          <p:nvPr/>
        </p:nvSpPr>
        <p:spPr bwMode="gray">
          <a:xfrm>
            <a:off x="883261" y="5230812"/>
            <a:ext cx="945772" cy="44011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860" b="1">
                <a:solidFill>
                  <a:srgbClr val="406B9B"/>
                </a:solidFill>
                <a:latin typeface="Century Gothic"/>
              </a:rPr>
              <a:t>+4,3k</a:t>
            </a:r>
            <a:endParaRPr lang="it-IT" sz="2860" b="1" baseline="90000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21AB6E0-8EC7-43A7-8736-B07C748D3FDF}"/>
              </a:ext>
            </a:extLst>
          </p:cNvPr>
          <p:cNvSpPr txBox="1">
            <a:spLocks/>
          </p:cNvSpPr>
          <p:nvPr/>
        </p:nvSpPr>
        <p:spPr bwMode="gray">
          <a:xfrm>
            <a:off x="2134074" y="5241447"/>
            <a:ext cx="2765385" cy="53384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Startup analizzate per percorsi di accelerazion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08D1471-B478-47A4-9B20-2301F09FE818}"/>
              </a:ext>
            </a:extLst>
          </p:cNvPr>
          <p:cNvSpPr txBox="1">
            <a:spLocks/>
          </p:cNvSpPr>
          <p:nvPr/>
        </p:nvSpPr>
        <p:spPr bwMode="gray">
          <a:xfrm>
            <a:off x="993868" y="1894196"/>
            <a:ext cx="835165" cy="44012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860" b="1">
                <a:solidFill>
                  <a:srgbClr val="406B9B"/>
                </a:solidFill>
                <a:latin typeface="Century Gothic"/>
              </a:rPr>
              <a:t>+700</a:t>
            </a:r>
            <a:endParaRPr lang="it-IT" sz="2860" baseline="90000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3D4984A9-4043-4AC4-AF4B-883B9E59A2DE}"/>
              </a:ext>
            </a:extLst>
          </p:cNvPr>
          <p:cNvSpPr txBox="1">
            <a:spLocks/>
          </p:cNvSpPr>
          <p:nvPr/>
        </p:nvSpPr>
        <p:spPr bwMode="gray">
          <a:xfrm>
            <a:off x="2134075" y="2006534"/>
            <a:ext cx="281055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</a:rPr>
              <a:t>Startup accelerate tramite…</a:t>
            </a:r>
            <a:endParaRPr lang="it-IT" sz="1400" b="1">
              <a:solidFill>
                <a:srgbClr val="406B9B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DAE1265-9F4F-4ED9-B995-6E4393F90482}"/>
              </a:ext>
            </a:extLst>
          </p:cNvPr>
          <p:cNvSpPr txBox="1">
            <a:spLocks/>
          </p:cNvSpPr>
          <p:nvPr/>
        </p:nvSpPr>
        <p:spPr bwMode="gray">
          <a:xfrm>
            <a:off x="1199052" y="3023391"/>
            <a:ext cx="629981" cy="44012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2860" b="1">
                <a:solidFill>
                  <a:srgbClr val="406B9B"/>
                </a:solidFill>
                <a:latin typeface="Century Gothic"/>
              </a:rPr>
              <a:t>+40</a:t>
            </a:r>
            <a:endParaRPr lang="it-IT" sz="2860" b="1" baseline="90000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441313D-AEA2-4CAE-9DF6-7D04CAAAF47F}"/>
              </a:ext>
            </a:extLst>
          </p:cNvPr>
          <p:cNvSpPr txBox="1">
            <a:spLocks/>
          </p:cNvSpPr>
          <p:nvPr/>
        </p:nvSpPr>
        <p:spPr bwMode="gray">
          <a:xfrm>
            <a:off x="2134077" y="3135729"/>
            <a:ext cx="2591237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</a:rPr>
              <a:t>Percorsi di accelerazione</a:t>
            </a:r>
            <a:endParaRPr lang="it-IT" sz="1400" b="1">
              <a:solidFill>
                <a:srgbClr val="406B9B"/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3E915977-F02B-411C-9425-E4835FAE06E9}"/>
              </a:ext>
            </a:extLst>
          </p:cNvPr>
          <p:cNvSpPr txBox="1">
            <a:spLocks/>
          </p:cNvSpPr>
          <p:nvPr/>
        </p:nvSpPr>
        <p:spPr bwMode="gray">
          <a:xfrm>
            <a:off x="2134073" y="4080707"/>
            <a:ext cx="3018495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Startup contratti di Business Development sottoscritti</a:t>
            </a:r>
            <a:endParaRPr lang="it-IT" sz="1400" b="1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9CCA608-F8AF-49E3-861A-21A5741CC937}"/>
              </a:ext>
            </a:extLst>
          </p:cNvPr>
          <p:cNvSpPr txBox="1">
            <a:spLocks/>
          </p:cNvSpPr>
          <p:nvPr/>
        </p:nvSpPr>
        <p:spPr bwMode="gray">
          <a:xfrm>
            <a:off x="993868" y="4091506"/>
            <a:ext cx="835165" cy="44012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kumimoji="0" lang="it-IT" sz="286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~</a:t>
            </a:r>
            <a:r>
              <a:rPr lang="it-IT" sz="2860" b="1">
                <a:solidFill>
                  <a:srgbClr val="406B9B"/>
                </a:solidFill>
                <a:latin typeface="Century Gothic"/>
              </a:rPr>
              <a:t>150</a:t>
            </a:r>
            <a:endParaRPr lang="it-IT" sz="2860" b="1" baseline="90000">
              <a:solidFill>
                <a:srgbClr val="406B9B"/>
              </a:solidFill>
              <a:latin typeface="Century Gothic"/>
            </a:endParaRPr>
          </a:p>
        </p:txBody>
      </p:sp>
      <p:cxnSp>
        <p:nvCxnSpPr>
          <p:cNvPr id="24" name="VerticalLine4 16">
            <a:extLst>
              <a:ext uri="{FF2B5EF4-FFF2-40B4-BE49-F238E27FC236}">
                <a16:creationId xmlns:a16="http://schemas.microsoft.com/office/drawing/2014/main" id="{2BFD7EB4-BEEA-41FC-8922-9D3D8FAB7C9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5224995" y="1723209"/>
            <a:ext cx="0" cy="4382022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magine 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757" y="4623172"/>
            <a:ext cx="1817860" cy="1376606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7939128" y="3620911"/>
            <a:ext cx="1439118" cy="372242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057" y="3118729"/>
            <a:ext cx="1817860" cy="1376606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677" y="3204471"/>
            <a:ext cx="1591411" cy="1205123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0736" y="4623172"/>
            <a:ext cx="1820502" cy="1376606"/>
          </a:xfrm>
          <a:prstGeom prst="rect">
            <a:avLst/>
          </a:prstGeom>
        </p:spPr>
      </p:pic>
      <p:sp>
        <p:nvSpPr>
          <p:cNvPr id="4" name="CasellaDiTesto 3"/>
          <p:cNvSpPr txBox="1"/>
          <p:nvPr/>
        </p:nvSpPr>
        <p:spPr>
          <a:xfrm>
            <a:off x="867766" y="6345390"/>
            <a:ext cx="2657211" cy="266924"/>
          </a:xfrm>
          <a:prstGeom prst="rect">
            <a:avLst/>
          </a:prstGeom>
          <a:noFill/>
        </p:spPr>
        <p:txBody>
          <a:bodyPr wrap="square" lIns="93297" tIns="46649" rIns="93297" bIns="46649" rtlCol="0" anchor="t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71">
                <a:solidFill>
                  <a:srgbClr val="FFFFFF">
                    <a:lumMod val="50000"/>
                  </a:srgbClr>
                </a:solidFill>
                <a:latin typeface="Century Gothic"/>
                <a:sym typeface="Century Gothic" panose="020B0502020202020204" pitchFamily="34" charset="0"/>
              </a:rPr>
              <a:t>Dati riferiti al periodo 2018 – 30/06/23</a:t>
            </a:r>
            <a:endParaRPr lang="it-IT" sz="1071">
              <a:solidFill>
                <a:srgbClr val="FFFFFF">
                  <a:lumMod val="50000"/>
                </a:srgbClr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9870475-7D24-4791-90D5-C55547C195F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00244" y="2023450"/>
            <a:ext cx="1440276" cy="538663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403AF52D-8797-4B2E-8C5A-C60A0CB326C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30594" y="2120534"/>
            <a:ext cx="1256187" cy="344495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A7921347-C779-4AA4-8C13-DB591E20019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22408" b="25262"/>
          <a:stretch/>
        </p:blipFill>
        <p:spPr>
          <a:xfrm>
            <a:off x="10072359" y="2023450"/>
            <a:ext cx="1497257" cy="538662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CC6F3EDD-601D-4A4F-B5B7-7A7FB4D41D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80165" y="5125812"/>
            <a:ext cx="1280434" cy="37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2794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C8E06C-C906-4ACC-BD55-86E6D06DBD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C8E06C-C906-4ACC-BD55-86E6D06D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E12B6D-88BE-4300-8EBA-1DCD497E8A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2449" b="1" err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EC6F00-6900-44AB-8CCC-052A6D9B727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31366" y="366715"/>
            <a:ext cx="11132571" cy="749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it-IT"/>
              <a:t>Supporto alla crescita del Sistema Paese e dei Territori - Aziende </a:t>
            </a:r>
            <a:br>
              <a:rPr lang="it-IT"/>
            </a:b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2"/>
          </p:nvPr>
        </p:nvSpPr>
        <p:spPr>
          <a:xfrm>
            <a:off x="531369" y="860425"/>
            <a:ext cx="8860236" cy="584747"/>
          </a:xfrm>
        </p:spPr>
        <p:txBody>
          <a:bodyPr/>
          <a:lstStyle/>
          <a:p>
            <a:r>
              <a:rPr lang="it-IT" sz="2000"/>
              <a:t>Supporto in programmi di continua innovazione e trasformazione</a:t>
            </a:r>
          </a:p>
          <a:p>
            <a:endParaRPr lang="it-IT"/>
          </a:p>
        </p:txBody>
      </p:sp>
      <p:pic>
        <p:nvPicPr>
          <p:cNvPr id="29" name="Immagine 5">
            <a:extLst>
              <a:ext uri="{FF2B5EF4-FFF2-40B4-BE49-F238E27FC236}">
                <a16:creationId xmlns:a16="http://schemas.microsoft.com/office/drawing/2014/main" id="{35E897AB-276F-4042-A9DB-1BD1773724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/>
        </p:blipFill>
        <p:spPr bwMode="gray">
          <a:xfrm>
            <a:off x="11057907" y="1897846"/>
            <a:ext cx="761074" cy="274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47">
            <a:extLst>
              <a:ext uri="{FF2B5EF4-FFF2-40B4-BE49-F238E27FC236}">
                <a16:creationId xmlns:a16="http://schemas.microsoft.com/office/drawing/2014/main" id="{3DFD610B-B8A4-4AD4-8D20-3DC75297D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391508" y="2649578"/>
            <a:ext cx="865187" cy="34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7">
            <a:extLst>
              <a:ext uri="{FF2B5EF4-FFF2-40B4-BE49-F238E27FC236}">
                <a16:creationId xmlns:a16="http://schemas.microsoft.com/office/drawing/2014/main" id="{8C1AE182-A38A-40D9-9159-AF79F1471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430822" y="2710601"/>
            <a:ext cx="768568" cy="203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43" descr="Risultati immagini per SAGAT">
            <a:extLst>
              <a:ext uri="{FF2B5EF4-FFF2-40B4-BE49-F238E27FC236}">
                <a16:creationId xmlns:a16="http://schemas.microsoft.com/office/drawing/2014/main" id="{74222C8D-DFB8-4ED2-AAF3-AE7E83523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9979106" y="3961413"/>
            <a:ext cx="419281" cy="53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7" descr="Risultati immagini per CNH logo">
            <a:extLst>
              <a:ext uri="{FF2B5EF4-FFF2-40B4-BE49-F238E27FC236}">
                <a16:creationId xmlns:a16="http://schemas.microsoft.com/office/drawing/2014/main" id="{A9172244-87C7-47F7-9C8F-775B6E45C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6419" b="8139"/>
          <a:stretch>
            <a:fillRect/>
          </a:stretch>
        </p:blipFill>
        <p:spPr bwMode="gray">
          <a:xfrm>
            <a:off x="8560542" y="1723209"/>
            <a:ext cx="509129" cy="624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49" descr="Risultati immagini per FERRARI logo">
            <a:extLst>
              <a:ext uri="{FF2B5EF4-FFF2-40B4-BE49-F238E27FC236}">
                <a16:creationId xmlns:a16="http://schemas.microsoft.com/office/drawing/2014/main" id="{8854446B-BA8E-42AE-B631-E96A548DC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221351" y="1796723"/>
            <a:ext cx="487391" cy="499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1" descr="Risultati immagini per Bosch  logo">
            <a:extLst>
              <a:ext uri="{FF2B5EF4-FFF2-40B4-BE49-F238E27FC236}">
                <a16:creationId xmlns:a16="http://schemas.microsoft.com/office/drawing/2014/main" id="{158D565E-1241-46D6-982D-D2053693E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360892" y="2475696"/>
            <a:ext cx="747055" cy="70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Immagine 9">
            <a:extLst>
              <a:ext uri="{FF2B5EF4-FFF2-40B4-BE49-F238E27FC236}">
                <a16:creationId xmlns:a16="http://schemas.microsoft.com/office/drawing/2014/main" id="{99AD8AE8-DD32-4A36-A660-57E091D3F1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37957" y="3388702"/>
            <a:ext cx="1454179" cy="25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1" descr="Risultati immagini per ENI">
            <a:extLst>
              <a:ext uri="{FF2B5EF4-FFF2-40B4-BE49-F238E27FC236}">
                <a16:creationId xmlns:a16="http://schemas.microsoft.com/office/drawing/2014/main" id="{043EC341-7911-4313-9D8F-6ABED0D2B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166537" y="2423844"/>
            <a:ext cx="543815" cy="557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5" descr="Risultati immagini per TERNA logo">
            <a:extLst>
              <a:ext uri="{FF2B5EF4-FFF2-40B4-BE49-F238E27FC236}">
                <a16:creationId xmlns:a16="http://schemas.microsoft.com/office/drawing/2014/main" id="{665700B5-26EC-4A5B-9BDA-81085C528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437339" y="3326881"/>
            <a:ext cx="755536" cy="40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53" descr="Risultati immagini per CAMOZZI group logo">
            <a:extLst>
              <a:ext uri="{FF2B5EF4-FFF2-40B4-BE49-F238E27FC236}">
                <a16:creationId xmlns:a16="http://schemas.microsoft.com/office/drawing/2014/main" id="{BFD7410D-FB29-4342-B3FD-1A84C8C3A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093526" y="3988412"/>
            <a:ext cx="689836" cy="513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63" descr="Risultati immagini per EDISON logo">
            <a:extLst>
              <a:ext uri="{FF2B5EF4-FFF2-40B4-BE49-F238E27FC236}">
                <a16:creationId xmlns:a16="http://schemas.microsoft.com/office/drawing/2014/main" id="{14D6DB83-4D1D-4CBF-9D7E-633E0B8228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231" t="20772" r="11305" b="16241"/>
          <a:stretch/>
        </p:blipFill>
        <p:spPr bwMode="gray">
          <a:xfrm>
            <a:off x="5353682" y="3359836"/>
            <a:ext cx="1295686" cy="368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67" descr="Risultati immagini per Bticino Logo">
            <a:extLst>
              <a:ext uri="{FF2B5EF4-FFF2-40B4-BE49-F238E27FC236}">
                <a16:creationId xmlns:a16="http://schemas.microsoft.com/office/drawing/2014/main" id="{987119E5-2C6E-4A9D-A9F2-E68F61FF2D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532666" y="4061269"/>
            <a:ext cx="937721" cy="305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69" descr="Risultati immagini per Petrone logo">
            <a:extLst>
              <a:ext uri="{FF2B5EF4-FFF2-40B4-BE49-F238E27FC236}">
                <a16:creationId xmlns:a16="http://schemas.microsoft.com/office/drawing/2014/main" id="{AD4AA389-845F-42D0-9A07-12458798D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439944" y="4845012"/>
            <a:ext cx="1049563" cy="292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77" descr="Risultati immagini per Janssen logo">
            <a:extLst>
              <a:ext uri="{FF2B5EF4-FFF2-40B4-BE49-F238E27FC236}">
                <a16:creationId xmlns:a16="http://schemas.microsoft.com/office/drawing/2014/main" id="{7907DDB8-FC66-43CD-8A55-9008C38C7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578211" y="5512586"/>
            <a:ext cx="846628" cy="365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79" descr="Risultati immagini per URMET  logo">
            <a:extLst>
              <a:ext uri="{FF2B5EF4-FFF2-40B4-BE49-F238E27FC236}">
                <a16:creationId xmlns:a16="http://schemas.microsoft.com/office/drawing/2014/main" id="{9CCEFE0A-C3D4-4A2C-BAD9-05081D7A2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884983" y="5521494"/>
            <a:ext cx="532267" cy="347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83" descr="Risultati immagini per Italdesign logo">
            <a:extLst>
              <a:ext uri="{FF2B5EF4-FFF2-40B4-BE49-F238E27FC236}">
                <a16:creationId xmlns:a16="http://schemas.microsoft.com/office/drawing/2014/main" id="{7A8BE8C4-F686-448A-B0CE-CAC2D0BCA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198" b="21971"/>
          <a:stretch>
            <a:fillRect/>
          </a:stretch>
        </p:blipFill>
        <p:spPr bwMode="gray">
          <a:xfrm>
            <a:off x="7737082" y="5434466"/>
            <a:ext cx="968478" cy="521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61" descr="Risultati immagini per abet laminati bra logo">
            <a:extLst>
              <a:ext uri="{FF2B5EF4-FFF2-40B4-BE49-F238E27FC236}">
                <a16:creationId xmlns:a16="http://schemas.microsoft.com/office/drawing/2014/main" id="{55B7D31B-5652-44EF-AC04-4A63943DD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963472" y="4100334"/>
            <a:ext cx="1003151" cy="281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65" descr="Risultati immagini per COMAU logo">
            <a:extLst>
              <a:ext uri="{FF2B5EF4-FFF2-40B4-BE49-F238E27FC236}">
                <a16:creationId xmlns:a16="http://schemas.microsoft.com/office/drawing/2014/main" id="{0CD589BC-E803-445D-AD58-A887B8AE6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233038" y="3307759"/>
            <a:ext cx="410810" cy="4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97931E02-F56F-4F2F-87EC-F6BBF6D70CEA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745298" y="1866130"/>
            <a:ext cx="638842" cy="338432"/>
          </a:xfrm>
          <a:prstGeom prst="rect">
            <a:avLst/>
          </a:prstGeom>
        </p:spPr>
      </p:pic>
      <p:sp>
        <p:nvSpPr>
          <p:cNvPr id="51" name="TextBox 117">
            <a:extLst>
              <a:ext uri="{FF2B5EF4-FFF2-40B4-BE49-F238E27FC236}">
                <a16:creationId xmlns:a16="http://schemas.microsoft.com/office/drawing/2014/main" id="{916539F6-7E53-41EA-9C60-F885BBC8AD22}"/>
              </a:ext>
            </a:extLst>
          </p:cNvPr>
          <p:cNvSpPr txBox="1">
            <a:spLocks/>
          </p:cNvSpPr>
          <p:nvPr/>
        </p:nvSpPr>
        <p:spPr bwMode="gray">
          <a:xfrm>
            <a:off x="540764" y="2518366"/>
            <a:ext cx="835165" cy="44012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kumimoji="0" lang="it-IT" sz="286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~</a:t>
            </a:r>
            <a:r>
              <a:rPr lang="it-IT" sz="2860" b="1">
                <a:solidFill>
                  <a:srgbClr val="406B9B"/>
                </a:solidFill>
                <a:latin typeface="Century Gothic"/>
              </a:rPr>
              <a:t>300</a:t>
            </a:r>
            <a:endParaRPr lang="it-IT" sz="2860" baseline="30000">
              <a:solidFill>
                <a:srgbClr val="406B9B"/>
              </a:solidFill>
            </a:endParaRPr>
          </a:p>
        </p:txBody>
      </p:sp>
      <p:sp>
        <p:nvSpPr>
          <p:cNvPr id="56" name="TextBox 118">
            <a:extLst>
              <a:ext uri="{FF2B5EF4-FFF2-40B4-BE49-F238E27FC236}">
                <a16:creationId xmlns:a16="http://schemas.microsoft.com/office/drawing/2014/main" id="{D01A283D-BA81-4149-96B8-39F30F3963F1}"/>
              </a:ext>
            </a:extLst>
          </p:cNvPr>
          <p:cNvSpPr txBox="1">
            <a:spLocks/>
          </p:cNvSpPr>
          <p:nvPr/>
        </p:nvSpPr>
        <p:spPr bwMode="gray">
          <a:xfrm>
            <a:off x="1595513" y="2508722"/>
            <a:ext cx="2855745" cy="94402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00">
                <a:solidFill>
                  <a:srgbClr val="000000"/>
                </a:solidFill>
                <a:latin typeface="Century Gothic"/>
              </a:rPr>
              <a:t>Aziende che hanno avviato collaborazioni in ambito Open Innovation, Circular e Green Economy, di cui…</a:t>
            </a:r>
            <a:endParaRPr lang="it-IT" sz="1600" b="1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F70AE2CB-9E72-4C82-A160-97747B229E20}"/>
              </a:ext>
            </a:extLst>
          </p:cNvPr>
          <p:cNvSpPr txBox="1">
            <a:spLocks/>
          </p:cNvSpPr>
          <p:nvPr/>
        </p:nvSpPr>
        <p:spPr bwMode="gray">
          <a:xfrm>
            <a:off x="1595512" y="4591630"/>
            <a:ext cx="252345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00">
                <a:solidFill>
                  <a:srgbClr val="000000"/>
                </a:solidFill>
              </a:rPr>
              <a:t>destinatarie di finanziamenti a valere su Plafond CE</a:t>
            </a:r>
          </a:p>
        </p:txBody>
      </p:sp>
      <p:cxnSp>
        <p:nvCxnSpPr>
          <p:cNvPr id="64" name="VerticalLine4 16">
            <a:extLst>
              <a:ext uri="{FF2B5EF4-FFF2-40B4-BE49-F238E27FC236}">
                <a16:creationId xmlns:a16="http://schemas.microsoft.com/office/drawing/2014/main" id="{2BFD7EB4-BEEA-41FC-8922-9D3D8FAB7C9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5122368" y="1723209"/>
            <a:ext cx="0" cy="4382022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14">
            <a:extLst>
              <a:ext uri="{FF2B5EF4-FFF2-40B4-BE49-F238E27FC236}">
                <a16:creationId xmlns:a16="http://schemas.microsoft.com/office/drawing/2014/main" id="{BD2B2A67-0371-024D-B1DF-A33802521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91508" y="1966928"/>
            <a:ext cx="1220037" cy="258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7DFF936F-49A6-4084-8247-27A42DE157B3}"/>
              </a:ext>
            </a:extLst>
          </p:cNvPr>
          <p:cNvSpPr txBox="1"/>
          <p:nvPr/>
        </p:nvSpPr>
        <p:spPr>
          <a:xfrm>
            <a:off x="546875" y="6365676"/>
            <a:ext cx="4575492" cy="251175"/>
          </a:xfrm>
          <a:prstGeom prst="rect">
            <a:avLst/>
          </a:prstGeom>
          <a:noFill/>
        </p:spPr>
        <p:txBody>
          <a:bodyPr wrap="square" lIns="93297" tIns="46649" rIns="93297" bIns="46649" rtlCol="0" anchor="t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020">
                <a:solidFill>
                  <a:srgbClr val="FFFFFF">
                    <a:lumMod val="50000"/>
                  </a:srgbClr>
                </a:solidFill>
                <a:latin typeface="Century Gothic"/>
                <a:sym typeface="Century Gothic" panose="020B0502020202020204" pitchFamily="34" charset="0"/>
              </a:rPr>
              <a:t>Dati riferiti al 2022</a:t>
            </a:r>
            <a:endParaRPr lang="it-IT" sz="1020">
              <a:solidFill>
                <a:srgbClr val="FFFFFF">
                  <a:lumMod val="50000"/>
                </a:srgbClr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62" name="Picture 12" descr="Iren - Wikipedia">
            <a:extLst>
              <a:ext uri="{FF2B5EF4-FFF2-40B4-BE49-F238E27FC236}">
                <a16:creationId xmlns:a16="http://schemas.microsoft.com/office/drawing/2014/main" id="{AE7E64DC-8277-9148-8D83-4D0ECB956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9277" y="2591126"/>
            <a:ext cx="865184" cy="401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8" descr="Immagine che contiene testo, serviziodatavola, segnale, stoviglie&#10;&#10;Descrizione generata automaticamente">
            <a:extLst>
              <a:ext uri="{FF2B5EF4-FFF2-40B4-BE49-F238E27FC236}">
                <a16:creationId xmlns:a16="http://schemas.microsoft.com/office/drawing/2014/main" id="{8D49BBEF-F3A5-B347-98E1-419C06F657A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1048733" y="5557678"/>
            <a:ext cx="796043" cy="274996"/>
          </a:xfrm>
          <a:prstGeom prst="rect">
            <a:avLst/>
          </a:prstGeom>
        </p:spPr>
      </p:pic>
      <p:pic>
        <p:nvPicPr>
          <p:cNvPr id="7210" name="Picture 42">
            <a:extLst>
              <a:ext uri="{FF2B5EF4-FFF2-40B4-BE49-F238E27FC236}">
                <a16:creationId xmlns:a16="http://schemas.microsoft.com/office/drawing/2014/main" id="{3C8F5DF5-7C8E-8C48-8733-32D0B848E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6248" y="3961413"/>
            <a:ext cx="937719" cy="43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00D55BB1-7288-294D-918E-3D52C0A7A99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590144" y="4718870"/>
            <a:ext cx="422713" cy="550207"/>
          </a:xfrm>
          <a:prstGeom prst="rect">
            <a:avLst/>
          </a:prstGeom>
        </p:spPr>
      </p:pic>
      <p:pic>
        <p:nvPicPr>
          <p:cNvPr id="72" name="Immagine 71">
            <a:extLst>
              <a:ext uri="{FF2B5EF4-FFF2-40B4-BE49-F238E27FC236}">
                <a16:creationId xmlns:a16="http://schemas.microsoft.com/office/drawing/2014/main" id="{79BD46DC-4280-1F43-A56E-9426B5B1CD8B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636021" y="5608883"/>
            <a:ext cx="1183444" cy="172586"/>
          </a:xfrm>
          <a:prstGeom prst="rect">
            <a:avLst/>
          </a:prstGeom>
        </p:spPr>
      </p:pic>
      <p:pic>
        <p:nvPicPr>
          <p:cNvPr id="73" name="Immagine 72">
            <a:extLst>
              <a:ext uri="{FF2B5EF4-FFF2-40B4-BE49-F238E27FC236}">
                <a16:creationId xmlns:a16="http://schemas.microsoft.com/office/drawing/2014/main" id="{7449C940-8431-0941-8DF5-01031F06E3B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364847" y="4726189"/>
            <a:ext cx="532265" cy="532265"/>
          </a:xfrm>
          <a:prstGeom prst="rect">
            <a:avLst/>
          </a:prstGeom>
        </p:spPr>
      </p:pic>
      <p:pic>
        <p:nvPicPr>
          <p:cNvPr id="74" name="Immagine 73">
            <a:extLst>
              <a:ext uri="{FF2B5EF4-FFF2-40B4-BE49-F238E27FC236}">
                <a16:creationId xmlns:a16="http://schemas.microsoft.com/office/drawing/2014/main" id="{F6132CA2-151A-2148-BE5B-7C5B781B884D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9717469" y="4811690"/>
            <a:ext cx="1067959" cy="280565"/>
          </a:xfrm>
          <a:prstGeom prst="rect">
            <a:avLst/>
          </a:prstGeom>
        </p:spPr>
      </p:pic>
      <p:pic>
        <p:nvPicPr>
          <p:cNvPr id="75" name="Immagine 74">
            <a:extLst>
              <a:ext uri="{FF2B5EF4-FFF2-40B4-BE49-F238E27FC236}">
                <a16:creationId xmlns:a16="http://schemas.microsoft.com/office/drawing/2014/main" id="{4C3C1088-D63C-E342-A6ED-59A1892070A1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735527" y="5429044"/>
            <a:ext cx="793529" cy="532265"/>
          </a:xfrm>
          <a:prstGeom prst="rect">
            <a:avLst/>
          </a:prstGeom>
        </p:spPr>
      </p:pic>
      <p:pic>
        <p:nvPicPr>
          <p:cNvPr id="76" name="Elemento grafico 75">
            <a:extLst>
              <a:ext uri="{FF2B5EF4-FFF2-40B4-BE49-F238E27FC236}">
                <a16:creationId xmlns:a16="http://schemas.microsoft.com/office/drawing/2014/main" id="{8E7DC180-159B-934C-9B3C-90FAAFE65505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1066480" y="4851789"/>
            <a:ext cx="743926" cy="198808"/>
          </a:xfrm>
          <a:prstGeom prst="rect">
            <a:avLst/>
          </a:prstGeom>
        </p:spPr>
      </p:pic>
      <p:pic>
        <p:nvPicPr>
          <p:cNvPr id="10248" name="Picture 8">
            <a:extLst>
              <a:ext uri="{FF2B5EF4-FFF2-40B4-BE49-F238E27FC236}">
                <a16:creationId xmlns:a16="http://schemas.microsoft.com/office/drawing/2014/main" id="{EDF78FDA-7F52-4E24-96AA-864E3DF34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277" y="2964289"/>
            <a:ext cx="972801" cy="97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>
            <a:extLst>
              <a:ext uri="{FF2B5EF4-FFF2-40B4-BE49-F238E27FC236}">
                <a16:creationId xmlns:a16="http://schemas.microsoft.com/office/drawing/2014/main" id="{EBAF9CD4-F85B-4036-9C69-14AA19086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192" y="2387704"/>
            <a:ext cx="950321" cy="95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12">
            <a:extLst>
              <a:ext uri="{FF2B5EF4-FFF2-40B4-BE49-F238E27FC236}">
                <a16:creationId xmlns:a16="http://schemas.microsoft.com/office/drawing/2014/main" id="{8781ECF0-F4A8-4B4E-9C63-C3A93699D5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106" y="4898051"/>
            <a:ext cx="949487" cy="20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17">
            <a:extLst>
              <a:ext uri="{FF2B5EF4-FFF2-40B4-BE49-F238E27FC236}">
                <a16:creationId xmlns:a16="http://schemas.microsoft.com/office/drawing/2014/main" id="{C5FEF374-64A4-4372-298B-D464C5394CA0}"/>
              </a:ext>
            </a:extLst>
          </p:cNvPr>
          <p:cNvSpPr txBox="1">
            <a:spLocks/>
          </p:cNvSpPr>
          <p:nvPr/>
        </p:nvSpPr>
        <p:spPr bwMode="gray">
          <a:xfrm>
            <a:off x="540764" y="4591630"/>
            <a:ext cx="835165" cy="44012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kumimoji="0" lang="it-IT" sz="286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~220</a:t>
            </a:r>
            <a:endParaRPr lang="it-IT" sz="2860" baseline="30000">
              <a:solidFill>
                <a:srgbClr val="406B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8494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F26EF118-46AE-8249-B5B3-6870225B2CF3}"/>
              </a:ext>
            </a:extLst>
          </p:cNvPr>
          <p:cNvSpPr/>
          <p:nvPr/>
        </p:nvSpPr>
        <p:spPr>
          <a:xfrm>
            <a:off x="9419845" y="6245808"/>
            <a:ext cx="2737133" cy="6031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06ABA997-0744-E947-A68C-4C72552D41F6}"/>
              </a:ext>
            </a:extLst>
          </p:cNvPr>
          <p:cNvGrpSpPr/>
          <p:nvPr/>
        </p:nvGrpSpPr>
        <p:grpSpPr>
          <a:xfrm>
            <a:off x="9767043" y="728366"/>
            <a:ext cx="1283454" cy="661919"/>
            <a:chOff x="9891156" y="253078"/>
            <a:chExt cx="990241" cy="510699"/>
          </a:xfrm>
        </p:grpSpPr>
        <p:pic>
          <p:nvPicPr>
            <p:cNvPr id="80" name="Immagine 147">
              <a:extLst>
                <a:ext uri="{FF2B5EF4-FFF2-40B4-BE49-F238E27FC236}">
                  <a16:creationId xmlns:a16="http://schemas.microsoft.com/office/drawing/2014/main" id="{39533D99-5003-1E4D-B95F-8CD1AA607F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7641" y="253078"/>
              <a:ext cx="330424" cy="243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1" name="CasellaDiTesto 16">
              <a:extLst>
                <a:ext uri="{FF2B5EF4-FFF2-40B4-BE49-F238E27FC236}">
                  <a16:creationId xmlns:a16="http://schemas.microsoft.com/office/drawing/2014/main" id="{5EDE8081-7A9E-A245-9D2A-18F36086DB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91156" y="521448"/>
              <a:ext cx="990241" cy="242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onsolato Generale d’Italia a Hong Kong</a:t>
              </a:r>
              <a:endPara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EE779717-13A0-9A47-B934-2FD10FA6A211}"/>
              </a:ext>
            </a:extLst>
          </p:cNvPr>
          <p:cNvGrpSpPr/>
          <p:nvPr/>
        </p:nvGrpSpPr>
        <p:grpSpPr>
          <a:xfrm>
            <a:off x="10903188" y="726728"/>
            <a:ext cx="1253791" cy="665197"/>
            <a:chOff x="9910723" y="885125"/>
            <a:chExt cx="825570" cy="438005"/>
          </a:xfrm>
        </p:grpSpPr>
        <p:pic>
          <p:nvPicPr>
            <p:cNvPr id="78" name="Immagine 147">
              <a:extLst>
                <a:ext uri="{FF2B5EF4-FFF2-40B4-BE49-F238E27FC236}">
                  <a16:creationId xmlns:a16="http://schemas.microsoft.com/office/drawing/2014/main" id="{50CB3827-9A68-D64F-B7BA-F13E092C7E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6511" y="885125"/>
              <a:ext cx="300385" cy="22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CasellaDiTesto 16">
              <a:extLst>
                <a:ext uri="{FF2B5EF4-FFF2-40B4-BE49-F238E27FC236}">
                  <a16:creationId xmlns:a16="http://schemas.microsoft.com/office/drawing/2014/main" id="{AD9771ED-C57A-AB46-ADB6-5EE86A3B35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10723" y="1116319"/>
              <a:ext cx="825570" cy="206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7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onsolato Generale d’Italia a Canton</a:t>
              </a:r>
              <a:endPara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pic>
        <p:nvPicPr>
          <p:cNvPr id="54" name="Immagine 128">
            <a:extLst>
              <a:ext uri="{FF2B5EF4-FFF2-40B4-BE49-F238E27FC236}">
                <a16:creationId xmlns:a16="http://schemas.microsoft.com/office/drawing/2014/main" id="{3CD09E0A-5F86-534C-8894-C7540A9FF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1404" y="2037968"/>
            <a:ext cx="942313" cy="334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Immagine 129">
            <a:extLst>
              <a:ext uri="{FF2B5EF4-FFF2-40B4-BE49-F238E27FC236}">
                <a16:creationId xmlns:a16="http://schemas.microsoft.com/office/drawing/2014/main" id="{9F14BA79-E214-2C4F-AA94-65C465E97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61679" y="2582438"/>
            <a:ext cx="685607" cy="365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Immagine 131">
            <a:extLst>
              <a:ext uri="{FF2B5EF4-FFF2-40B4-BE49-F238E27FC236}">
                <a16:creationId xmlns:a16="http://schemas.microsoft.com/office/drawing/2014/main" id="{22CA6F15-C746-F541-BA7B-5B90B7E8D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25228" y="2131290"/>
            <a:ext cx="941367" cy="339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Immagine 9">
            <a:extLst>
              <a:ext uri="{FF2B5EF4-FFF2-40B4-BE49-F238E27FC236}">
                <a16:creationId xmlns:a16="http://schemas.microsoft.com/office/drawing/2014/main" id="{D490FE52-C4C6-3949-90E2-DAACB064B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94670" y="3004237"/>
            <a:ext cx="1024488" cy="66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7">
            <a:extLst>
              <a:ext uri="{FF2B5EF4-FFF2-40B4-BE49-F238E27FC236}">
                <a16:creationId xmlns:a16="http://schemas.microsoft.com/office/drawing/2014/main" id="{D7532285-4ADC-F84E-A200-7A67F1811F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0809" y="6472193"/>
            <a:ext cx="820025" cy="150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Immagine 74">
            <a:extLst>
              <a:ext uri="{FF2B5EF4-FFF2-40B4-BE49-F238E27FC236}">
                <a16:creationId xmlns:a16="http://schemas.microsoft.com/office/drawing/2014/main" id="{6389788D-E201-C14D-BD36-E914FD01134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421" y="1457941"/>
            <a:ext cx="941366" cy="448960"/>
          </a:xfrm>
          <a:prstGeom prst="rect">
            <a:avLst/>
          </a:prstGeom>
        </p:spPr>
      </p:pic>
      <p:pic>
        <p:nvPicPr>
          <p:cNvPr id="74" name="Immagine 73">
            <a:extLst>
              <a:ext uri="{FF2B5EF4-FFF2-40B4-BE49-F238E27FC236}">
                <a16:creationId xmlns:a16="http://schemas.microsoft.com/office/drawing/2014/main" id="{65456B4C-2D7C-2146-8E82-35267CA8832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1680" y="6422021"/>
            <a:ext cx="726129" cy="203035"/>
          </a:xfrm>
          <a:prstGeom prst="rect">
            <a:avLst/>
          </a:prstGeom>
        </p:spPr>
      </p:pic>
      <p:pic>
        <p:nvPicPr>
          <p:cNvPr id="76" name="Picture 24">
            <a:extLst>
              <a:ext uri="{FF2B5EF4-FFF2-40B4-BE49-F238E27FC236}">
                <a16:creationId xmlns:a16="http://schemas.microsoft.com/office/drawing/2014/main" id="{DEB94A56-139D-A04A-9F00-A7B6FFF75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004702" y="1545965"/>
            <a:ext cx="944284" cy="272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Immagine 7">
            <a:extLst>
              <a:ext uri="{FF2B5EF4-FFF2-40B4-BE49-F238E27FC236}">
                <a16:creationId xmlns:a16="http://schemas.microsoft.com/office/drawing/2014/main" id="{1111EE63-2D9F-9744-AEBD-88A37CE85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218928" y="3262572"/>
            <a:ext cx="710656" cy="15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olo 10"/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/>
              <a:t>Il nostro presidio internazionale</a:t>
            </a:r>
          </a:p>
        </p:txBody>
      </p:sp>
      <p:pic>
        <p:nvPicPr>
          <p:cNvPr id="28" name="Picture 6" descr="C:\CUENTAS\Intesa\Intesa - Infografica mapa y powerpoint\logos\Italian Chamber of Commerce.png">
            <a:extLst>
              <a:ext uri="{FF2B5EF4-FFF2-40B4-BE49-F238E27FC236}">
                <a16:creationId xmlns:a16="http://schemas.microsoft.com/office/drawing/2014/main" id="{AF5A192C-A125-5647-A350-7ABF37390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5304" y="4387139"/>
            <a:ext cx="983086" cy="203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7" descr="C:\CUENTAS\Intesa\Intesa - Infografica mapa y powerpoint\logos\UK Trade&amp;Investment.png">
            <a:extLst>
              <a:ext uri="{FF2B5EF4-FFF2-40B4-BE49-F238E27FC236}">
                <a16:creationId xmlns:a16="http://schemas.microsoft.com/office/drawing/2014/main" id="{2B2D1CD9-17B6-8F48-9E2D-C742B4396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8671" y="2598891"/>
            <a:ext cx="944076" cy="36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magine 59">
            <a:extLst>
              <a:ext uri="{FF2B5EF4-FFF2-40B4-BE49-F238E27FC236}">
                <a16:creationId xmlns:a16="http://schemas.microsoft.com/office/drawing/2014/main" id="{99AB918A-0163-1947-8FD6-358F770F9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8449" y="4823920"/>
            <a:ext cx="777430" cy="37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75">
            <a:extLst>
              <a:ext uri="{FF2B5EF4-FFF2-40B4-BE49-F238E27FC236}">
                <a16:creationId xmlns:a16="http://schemas.microsoft.com/office/drawing/2014/main" id="{150E9226-2BFD-4342-ACFB-E3DACB76C1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7139" y="5851249"/>
            <a:ext cx="394561" cy="394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>
            <a:extLst>
              <a:ext uri="{FF2B5EF4-FFF2-40B4-BE49-F238E27FC236}">
                <a16:creationId xmlns:a16="http://schemas.microsoft.com/office/drawing/2014/main" id="{BE20722F-B4BD-BD45-B403-C45E22ED01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20272" y="5418959"/>
            <a:ext cx="814315" cy="31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magine 18">
            <a:extLst>
              <a:ext uri="{FF2B5EF4-FFF2-40B4-BE49-F238E27FC236}">
                <a16:creationId xmlns:a16="http://schemas.microsoft.com/office/drawing/2014/main" id="{40850647-30CF-8348-B4F1-5F54CF4EFF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5305" y="4833384"/>
            <a:ext cx="585667" cy="32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magine 20">
            <a:extLst>
              <a:ext uri="{FF2B5EF4-FFF2-40B4-BE49-F238E27FC236}">
                <a16:creationId xmlns:a16="http://schemas.microsoft.com/office/drawing/2014/main" id="{05324D22-D816-A942-BA78-35387091B7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3042" y="3701245"/>
            <a:ext cx="590259" cy="590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6" descr="Risultati immagini per ambasciata italiana di londra logo">
            <a:extLst>
              <a:ext uri="{FF2B5EF4-FFF2-40B4-BE49-F238E27FC236}">
                <a16:creationId xmlns:a16="http://schemas.microsoft.com/office/drawing/2014/main" id="{659C0F4C-29F7-1C47-8883-19574EB1F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70267" y="3080729"/>
            <a:ext cx="575599" cy="512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Immagine 37">
            <a:extLst>
              <a:ext uri="{FF2B5EF4-FFF2-40B4-BE49-F238E27FC236}">
                <a16:creationId xmlns:a16="http://schemas.microsoft.com/office/drawing/2014/main" id="{68DC1CDA-8AE3-1441-95E4-EBB34938139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2372" y="3738132"/>
            <a:ext cx="1130841" cy="467091"/>
          </a:xfrm>
          <a:prstGeom prst="rect">
            <a:avLst/>
          </a:prstGeom>
        </p:spPr>
      </p:pic>
      <p:pic>
        <p:nvPicPr>
          <p:cNvPr id="41" name="Immagine 121">
            <a:extLst>
              <a:ext uri="{FF2B5EF4-FFF2-40B4-BE49-F238E27FC236}">
                <a16:creationId xmlns:a16="http://schemas.microsoft.com/office/drawing/2014/main" id="{A1269B83-F1A9-D841-805C-F7EB83DB9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29" y="2067246"/>
            <a:ext cx="738858" cy="44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42" name="Picture 11">
            <a:extLst>
              <a:ext uri="{FF2B5EF4-FFF2-40B4-BE49-F238E27FC236}">
                <a16:creationId xmlns:a16="http://schemas.microsoft.com/office/drawing/2014/main" id="{4FCD9957-5518-6748-8828-B233C92C8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861853" y="3079558"/>
            <a:ext cx="527032" cy="514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45" name="Immagine 44">
            <a:extLst>
              <a:ext uri="{FF2B5EF4-FFF2-40B4-BE49-F238E27FC236}">
                <a16:creationId xmlns:a16="http://schemas.microsoft.com/office/drawing/2014/main" id="{57D0AF3B-59F2-B849-AACD-F25B18F28682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454" y="787951"/>
            <a:ext cx="1357063" cy="542752"/>
          </a:xfrm>
          <a:prstGeom prst="rect">
            <a:avLst/>
          </a:prstGeom>
        </p:spPr>
      </p:pic>
      <p:pic>
        <p:nvPicPr>
          <p:cNvPr id="46" name="Immagine 104">
            <a:extLst>
              <a:ext uri="{FF2B5EF4-FFF2-40B4-BE49-F238E27FC236}">
                <a16:creationId xmlns:a16="http://schemas.microsoft.com/office/drawing/2014/main" id="{20EE5E33-9134-D84C-87EC-C7A2D32BB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7733" y="2598891"/>
            <a:ext cx="900632" cy="34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ttangolo 84">
            <a:extLst>
              <a:ext uri="{FF2B5EF4-FFF2-40B4-BE49-F238E27FC236}">
                <a16:creationId xmlns:a16="http://schemas.microsoft.com/office/drawing/2014/main" id="{6BB54E64-0ABB-7146-8C18-12B08C4CB95D}"/>
              </a:ext>
            </a:extLst>
          </p:cNvPr>
          <p:cNvSpPr/>
          <p:nvPr/>
        </p:nvSpPr>
        <p:spPr>
          <a:xfrm>
            <a:off x="9638903" y="3875886"/>
            <a:ext cx="1901815" cy="10754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95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"/>
            </a:endParaRPr>
          </a:p>
        </p:txBody>
      </p:sp>
      <p:pic>
        <p:nvPicPr>
          <p:cNvPr id="86" name="Picture 14" descr="C:\CUENTAS\Intesa\Intesa - Infografica mapa y powerpoint\logos\Start-Up Nation Central.png">
            <a:extLst>
              <a:ext uri="{FF2B5EF4-FFF2-40B4-BE49-F238E27FC236}">
                <a16:creationId xmlns:a16="http://schemas.microsoft.com/office/drawing/2014/main" id="{E0C6BC0F-D4DB-7A46-8C2F-BFD9C7F9E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78773" y="2449658"/>
            <a:ext cx="750811" cy="778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17" descr="C:\CUENTAS\Intesa\Intesa - Infografica mapa y powerpoint\logos\OurCrowd.png">
            <a:extLst>
              <a:ext uri="{FF2B5EF4-FFF2-40B4-BE49-F238E27FC236}">
                <a16:creationId xmlns:a16="http://schemas.microsoft.com/office/drawing/2014/main" id="{23E6E38B-6190-444F-A743-2FD9636DC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7453" y="4282413"/>
            <a:ext cx="1140586" cy="38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18" descr="C:\CUENTAS\Intesa\Intesa - Infografica mapa y powerpoint\logos\Technion-1.png">
            <a:extLst>
              <a:ext uri="{FF2B5EF4-FFF2-40B4-BE49-F238E27FC236}">
                <a16:creationId xmlns:a16="http://schemas.microsoft.com/office/drawing/2014/main" id="{CCEB1E44-1A84-D04F-9505-448A58667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91959" y="5378939"/>
            <a:ext cx="827075" cy="22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Immagine 126">
            <a:extLst>
              <a:ext uri="{FF2B5EF4-FFF2-40B4-BE49-F238E27FC236}">
                <a16:creationId xmlns:a16="http://schemas.microsoft.com/office/drawing/2014/main" id="{7CE14595-A4D7-B342-8649-06F0FAD75A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97709" y="6192732"/>
            <a:ext cx="656179" cy="65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Immagine 2">
            <a:extLst>
              <a:ext uri="{FF2B5EF4-FFF2-40B4-BE49-F238E27FC236}">
                <a16:creationId xmlns:a16="http://schemas.microsoft.com/office/drawing/2014/main" id="{0BCEF2C3-18EE-194E-9FB2-6445F809A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43991" y="3690361"/>
            <a:ext cx="721497" cy="541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Immagine 33">
            <a:extLst>
              <a:ext uri="{FF2B5EF4-FFF2-40B4-BE49-F238E27FC236}">
                <a16:creationId xmlns:a16="http://schemas.microsoft.com/office/drawing/2014/main" id="{AED9D411-EC09-E94E-B951-5A4A3B8E1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063198" y="4291153"/>
            <a:ext cx="929115" cy="36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Immagine 39">
            <a:extLst>
              <a:ext uri="{FF2B5EF4-FFF2-40B4-BE49-F238E27FC236}">
                <a16:creationId xmlns:a16="http://schemas.microsoft.com/office/drawing/2014/main" id="{CC279F21-938F-4E4E-8B03-5B700C4A13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2167" y="5315209"/>
            <a:ext cx="626843" cy="376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Immagine 36">
            <a:extLst>
              <a:ext uri="{FF2B5EF4-FFF2-40B4-BE49-F238E27FC236}">
                <a16:creationId xmlns:a16="http://schemas.microsoft.com/office/drawing/2014/main" id="{287602BD-F287-1F41-9A09-152474888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158581" y="5797905"/>
            <a:ext cx="499740" cy="49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Immagine 35">
            <a:extLst>
              <a:ext uri="{FF2B5EF4-FFF2-40B4-BE49-F238E27FC236}">
                <a16:creationId xmlns:a16="http://schemas.microsoft.com/office/drawing/2014/main" id="{FDEB9525-7462-9142-9BA5-FDEF61246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851642" y="6236346"/>
            <a:ext cx="547750" cy="5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Immagine 6">
            <a:extLst>
              <a:ext uri="{FF2B5EF4-FFF2-40B4-BE49-F238E27FC236}">
                <a16:creationId xmlns:a16="http://schemas.microsoft.com/office/drawing/2014/main" id="{B70ABFF3-2157-9343-A85D-830C1E687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264194" y="4735881"/>
            <a:ext cx="521273" cy="521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Immagine 4">
            <a:extLst>
              <a:ext uri="{FF2B5EF4-FFF2-40B4-BE49-F238E27FC236}">
                <a16:creationId xmlns:a16="http://schemas.microsoft.com/office/drawing/2014/main" id="{77EBA3EA-7688-9240-A132-FD4A2A80D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218928" y="5997805"/>
            <a:ext cx="613122" cy="105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Immagine 28">
            <a:extLst>
              <a:ext uri="{FF2B5EF4-FFF2-40B4-BE49-F238E27FC236}">
                <a16:creationId xmlns:a16="http://schemas.microsoft.com/office/drawing/2014/main" id="{91F168E5-0ECF-FF4E-9C8A-A97EEAD9D4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18881" y="4775178"/>
            <a:ext cx="975362" cy="443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22">
            <a:extLst>
              <a:ext uri="{FF2B5EF4-FFF2-40B4-BE49-F238E27FC236}">
                <a16:creationId xmlns:a16="http://schemas.microsoft.com/office/drawing/2014/main" id="{E041408D-FA8C-DA43-AF23-F939CAF3D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/>
          <a:srcRect/>
          <a:stretch/>
        </p:blipFill>
        <p:spPr bwMode="auto">
          <a:xfrm>
            <a:off x="8858052" y="4258386"/>
            <a:ext cx="826135" cy="46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Immagine 3">
            <a:extLst>
              <a:ext uri="{FF2B5EF4-FFF2-40B4-BE49-F238E27FC236}">
                <a16:creationId xmlns:a16="http://schemas.microsoft.com/office/drawing/2014/main" id="{8FECA866-4B58-814A-ABD5-7CA9FD7DBC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92592" y="2065382"/>
            <a:ext cx="1016025" cy="459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Immagine 4">
            <a:extLst>
              <a:ext uri="{FF2B5EF4-FFF2-40B4-BE49-F238E27FC236}">
                <a16:creationId xmlns:a16="http://schemas.microsoft.com/office/drawing/2014/main" id="{3DC9C54F-36BF-2F49-8366-A9D121698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37769" y="1553968"/>
            <a:ext cx="1088077" cy="25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8">
            <a:extLst>
              <a:ext uri="{FF2B5EF4-FFF2-40B4-BE49-F238E27FC236}">
                <a16:creationId xmlns:a16="http://schemas.microsoft.com/office/drawing/2014/main" id="{22DCD935-EBA2-5C4C-A275-3131197396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883665" y="701089"/>
            <a:ext cx="791613" cy="79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Immagine 15360">
            <a:extLst>
              <a:ext uri="{FF2B5EF4-FFF2-40B4-BE49-F238E27FC236}">
                <a16:creationId xmlns:a16="http://schemas.microsoft.com/office/drawing/2014/main" id="{3BE14945-087D-9A44-B825-4FEE7A73D8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788671" y="5336679"/>
            <a:ext cx="944076" cy="377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</p:pic>
      <p:grpSp>
        <p:nvGrpSpPr>
          <p:cNvPr id="67" name="Gruppo 66">
            <a:extLst>
              <a:ext uri="{FF2B5EF4-FFF2-40B4-BE49-F238E27FC236}">
                <a16:creationId xmlns:a16="http://schemas.microsoft.com/office/drawing/2014/main" id="{716AB8E3-1A27-624C-AAA4-6FDF2630B0CD}"/>
              </a:ext>
            </a:extLst>
          </p:cNvPr>
          <p:cNvGrpSpPr/>
          <p:nvPr/>
        </p:nvGrpSpPr>
        <p:grpSpPr>
          <a:xfrm>
            <a:off x="591711" y="2223680"/>
            <a:ext cx="6166491" cy="3091529"/>
            <a:chOff x="2174698" y="2561023"/>
            <a:chExt cx="8235063" cy="4128594"/>
          </a:xfrm>
        </p:grpSpPr>
        <p:pic>
          <p:nvPicPr>
            <p:cNvPr id="68" name="Immagine 67">
              <a:extLst>
                <a:ext uri="{FF2B5EF4-FFF2-40B4-BE49-F238E27FC236}">
                  <a16:creationId xmlns:a16="http://schemas.microsoft.com/office/drawing/2014/main" id="{485C2B54-C479-FA40-B2FE-ACC6655E2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4698" y="2561023"/>
              <a:ext cx="8235063" cy="4128594"/>
            </a:xfrm>
            <a:prstGeom prst="rect">
              <a:avLst/>
            </a:prstGeom>
          </p:spPr>
        </p:pic>
        <p:sp>
          <p:nvSpPr>
            <p:cNvPr id="69" name="Rettangolo 68">
              <a:extLst>
                <a:ext uri="{FF2B5EF4-FFF2-40B4-BE49-F238E27FC236}">
                  <a16:creationId xmlns:a16="http://schemas.microsoft.com/office/drawing/2014/main" id="{711BF10A-E819-F94E-A811-98293D634359}"/>
                </a:ext>
              </a:extLst>
            </p:cNvPr>
            <p:cNvSpPr/>
            <p:nvPr/>
          </p:nvSpPr>
          <p:spPr>
            <a:xfrm>
              <a:off x="5742527" y="4022089"/>
              <a:ext cx="865433" cy="300293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orino</a:t>
              </a:r>
              <a:endParaRPr kumimoji="0" lang="it-IT" sz="1071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3" name="Rettangolo 82">
              <a:extLst>
                <a:ext uri="{FF2B5EF4-FFF2-40B4-BE49-F238E27FC236}">
                  <a16:creationId xmlns:a16="http://schemas.microsoft.com/office/drawing/2014/main" id="{FF9C32A9-AB32-3F4F-9847-FE388644952A}"/>
                </a:ext>
              </a:extLst>
            </p:cNvPr>
            <p:cNvSpPr/>
            <p:nvPr/>
          </p:nvSpPr>
          <p:spPr>
            <a:xfrm>
              <a:off x="3964546" y="4022089"/>
              <a:ext cx="1432088" cy="300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ew York</a:t>
              </a:r>
            </a:p>
          </p:txBody>
        </p:sp>
        <p:sp>
          <p:nvSpPr>
            <p:cNvPr id="84" name="Rettangolo 83">
              <a:extLst>
                <a:ext uri="{FF2B5EF4-FFF2-40B4-BE49-F238E27FC236}">
                  <a16:creationId xmlns:a16="http://schemas.microsoft.com/office/drawing/2014/main" id="{71A2BC0E-3333-004C-ABD8-14B5AB1CE1F6}"/>
                </a:ext>
              </a:extLst>
            </p:cNvPr>
            <p:cNvSpPr/>
            <p:nvPr/>
          </p:nvSpPr>
          <p:spPr>
            <a:xfrm>
              <a:off x="5396635" y="3438750"/>
              <a:ext cx="999080" cy="300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ondra</a:t>
              </a:r>
              <a:endParaRPr kumimoji="0" lang="it-IT" sz="1071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Rettangolo 101">
              <a:extLst>
                <a:ext uri="{FF2B5EF4-FFF2-40B4-BE49-F238E27FC236}">
                  <a16:creationId xmlns:a16="http://schemas.microsoft.com/office/drawing/2014/main" id="{49301985-16C7-BF4F-AA6D-8D0F17E33A19}"/>
                </a:ext>
              </a:extLst>
            </p:cNvPr>
            <p:cNvSpPr/>
            <p:nvPr/>
          </p:nvSpPr>
          <p:spPr>
            <a:xfrm>
              <a:off x="6749770" y="4707638"/>
              <a:ext cx="888520" cy="300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Dubai</a:t>
              </a:r>
              <a:endParaRPr kumimoji="0" lang="it-IT" sz="1071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Rettangolo 104">
              <a:extLst>
                <a:ext uri="{FF2B5EF4-FFF2-40B4-BE49-F238E27FC236}">
                  <a16:creationId xmlns:a16="http://schemas.microsoft.com/office/drawing/2014/main" id="{8A904740-8A98-074D-B30A-C0A6A100961A}"/>
                </a:ext>
              </a:extLst>
            </p:cNvPr>
            <p:cNvSpPr/>
            <p:nvPr/>
          </p:nvSpPr>
          <p:spPr>
            <a:xfrm>
              <a:off x="7754589" y="4475171"/>
              <a:ext cx="1416648" cy="30029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Hong Kong</a:t>
              </a:r>
            </a:p>
          </p:txBody>
        </p:sp>
        <p:sp>
          <p:nvSpPr>
            <p:cNvPr id="106" name="Rettangolo 105">
              <a:extLst>
                <a:ext uri="{FF2B5EF4-FFF2-40B4-BE49-F238E27FC236}">
                  <a16:creationId xmlns:a16="http://schemas.microsoft.com/office/drawing/2014/main" id="{DCFBE196-2697-B245-943A-15076F8B549D}"/>
                </a:ext>
              </a:extLst>
            </p:cNvPr>
            <p:cNvSpPr/>
            <p:nvPr/>
          </p:nvSpPr>
          <p:spPr>
            <a:xfrm>
              <a:off x="6661326" y="4349640"/>
              <a:ext cx="1043834" cy="300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el Aviv</a:t>
              </a:r>
            </a:p>
          </p:txBody>
        </p:sp>
        <p:sp>
          <p:nvSpPr>
            <p:cNvPr id="107" name="Rettangolo 106">
              <a:extLst>
                <a:ext uri="{FF2B5EF4-FFF2-40B4-BE49-F238E27FC236}">
                  <a16:creationId xmlns:a16="http://schemas.microsoft.com/office/drawing/2014/main" id="{E682CC0D-392A-DF49-87B3-5EF04B041C23}"/>
                </a:ext>
              </a:extLst>
            </p:cNvPr>
            <p:cNvSpPr/>
            <p:nvPr/>
          </p:nvSpPr>
          <p:spPr>
            <a:xfrm>
              <a:off x="6395715" y="3616157"/>
              <a:ext cx="995334" cy="300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9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24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Berlino</a:t>
              </a:r>
              <a:endParaRPr kumimoji="0" lang="it-IT" sz="1071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04" name="Immagine 15390">
            <a:extLst>
              <a:ext uri="{FF2B5EF4-FFF2-40B4-BE49-F238E27FC236}">
                <a16:creationId xmlns:a16="http://schemas.microsoft.com/office/drawing/2014/main" id="{66353EEE-2BA8-9E49-A368-7BF0D7EB4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759939" y="5911198"/>
            <a:ext cx="1002377" cy="276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118" name="Rettangolo 117">
            <a:extLst>
              <a:ext uri="{FF2B5EF4-FFF2-40B4-BE49-F238E27FC236}">
                <a16:creationId xmlns:a16="http://schemas.microsoft.com/office/drawing/2014/main" id="{C7C22C7F-7A00-0347-A6F4-FDB3A594621B}"/>
              </a:ext>
            </a:extLst>
          </p:cNvPr>
          <p:cNvSpPr/>
          <p:nvPr/>
        </p:nvSpPr>
        <p:spPr>
          <a:xfrm>
            <a:off x="7553331" y="371085"/>
            <a:ext cx="4232137" cy="350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Helvetica"/>
              </a:rPr>
              <a:t>Esempi di partnership e collaborazioni</a:t>
            </a:r>
          </a:p>
        </p:txBody>
      </p:sp>
      <p:cxnSp>
        <p:nvCxnSpPr>
          <p:cNvPr id="18" name="Connettore 1 17">
            <a:extLst>
              <a:ext uri="{FF2B5EF4-FFF2-40B4-BE49-F238E27FC236}">
                <a16:creationId xmlns:a16="http://schemas.microsoft.com/office/drawing/2014/main" id="{33112FB5-C2C4-B044-B5B1-51B3C831C9B4}"/>
              </a:ext>
            </a:extLst>
          </p:cNvPr>
          <p:cNvCxnSpPr/>
          <p:nvPr/>
        </p:nvCxnSpPr>
        <p:spPr>
          <a:xfrm>
            <a:off x="7418723" y="466487"/>
            <a:ext cx="0" cy="6155732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Delivery of Topnotch Services a Priority for UAE's Ministry of Economy">
            <a:extLst>
              <a:ext uri="{FF2B5EF4-FFF2-40B4-BE49-F238E27FC236}">
                <a16:creationId xmlns:a16="http://schemas.microsoft.com/office/drawing/2014/main" id="{58222635-D56E-438C-A2F8-AC5C728DF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5488" y="3506669"/>
            <a:ext cx="594144" cy="77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0674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o 11">
            <a:extLst>
              <a:ext uri="{FF2B5EF4-FFF2-40B4-BE49-F238E27FC236}">
                <a16:creationId xmlns:a16="http://schemas.microsoft.com/office/drawing/2014/main" id="{31EE3F20-EF25-2CF9-F711-13ED2D8AEF60}"/>
              </a:ext>
            </a:extLst>
          </p:cNvPr>
          <p:cNvGrpSpPr/>
          <p:nvPr/>
        </p:nvGrpSpPr>
        <p:grpSpPr>
          <a:xfrm>
            <a:off x="0" y="948581"/>
            <a:ext cx="12207705" cy="5228585"/>
            <a:chOff x="0" y="948581"/>
            <a:chExt cx="12207705" cy="5228585"/>
          </a:xfrm>
        </p:grpSpPr>
        <p:pic>
          <p:nvPicPr>
            <p:cNvPr id="74" name="Immagine 73">
              <a:extLst>
                <a:ext uri="{FF2B5EF4-FFF2-40B4-BE49-F238E27FC236}">
                  <a16:creationId xmlns:a16="http://schemas.microsoft.com/office/drawing/2014/main" id="{C7027D90-B9A7-024C-A333-E0DB749971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4978" b="200"/>
            <a:stretch/>
          </p:blipFill>
          <p:spPr>
            <a:xfrm>
              <a:off x="0" y="948581"/>
              <a:ext cx="12201830" cy="5216287"/>
            </a:xfrm>
            <a:prstGeom prst="rect">
              <a:avLst/>
            </a:prstGeom>
          </p:spPr>
        </p:pic>
        <p:sp>
          <p:nvSpPr>
            <p:cNvPr id="77" name="Rectangle 102">
              <a:extLst>
                <a:ext uri="{FF2B5EF4-FFF2-40B4-BE49-F238E27FC236}">
                  <a16:creationId xmlns:a16="http://schemas.microsoft.com/office/drawing/2014/main" id="{146521E4-BE4C-4BDE-8DF9-D24CC3DBBB06}"/>
                </a:ext>
              </a:extLst>
            </p:cNvPr>
            <p:cNvSpPr>
              <a:spLocks/>
            </p:cNvSpPr>
            <p:nvPr/>
          </p:nvSpPr>
          <p:spPr>
            <a:xfrm>
              <a:off x="0" y="960879"/>
              <a:ext cx="12207705" cy="5216287"/>
            </a:xfrm>
            <a:prstGeom prst="rect">
              <a:avLst/>
            </a:prstGeom>
            <a:solidFill>
              <a:srgbClr val="406B9B">
                <a:alpha val="54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32" err="1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245" b="1">
              <a:solidFill>
                <a:prstClr val="black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258A3CFE-A730-4A2E-8CE7-A9011A1B63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l="15161" t="35916" r="12238" b="26819"/>
          <a:stretch/>
        </p:blipFill>
        <p:spPr bwMode="auto">
          <a:xfrm>
            <a:off x="175399" y="2398356"/>
            <a:ext cx="1843244" cy="1064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66">
            <a:extLst>
              <a:ext uri="{FF2B5EF4-FFF2-40B4-BE49-F238E27FC236}">
                <a16:creationId xmlns:a16="http://schemas.microsoft.com/office/drawing/2014/main" id="{370DABCB-D5BC-44AC-A193-1AE884B86B50}"/>
              </a:ext>
            </a:extLst>
          </p:cNvPr>
          <p:cNvSpPr txBox="1">
            <a:spLocks/>
          </p:cNvSpPr>
          <p:nvPr/>
        </p:nvSpPr>
        <p:spPr bwMode="gray">
          <a:xfrm>
            <a:off x="9862611" y="1202962"/>
            <a:ext cx="2118861" cy="838691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3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2400" b="1">
                <a:solidFill>
                  <a:schemeClr val="bg1"/>
                </a:solidFill>
                <a:latin typeface="Century Gothic"/>
              </a:rPr>
              <a:t>3</a:t>
            </a:r>
            <a:br>
              <a:rPr lang="en-AU" sz="2000" b="1">
                <a:solidFill>
                  <a:schemeClr val="bg1"/>
                </a:solidFill>
                <a:latin typeface="Century Gothic"/>
              </a:rPr>
            </a:br>
            <a:r>
              <a:rPr lang="en-AU" sz="1400" b="1" err="1">
                <a:solidFill>
                  <a:schemeClr val="bg1"/>
                </a:solidFill>
                <a:latin typeface="Century Gothic"/>
              </a:rPr>
              <a:t>Mesi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</a:p>
          <a:p>
            <a:pPr algn="ctr" defTabSz="1218095" fontAlgn="base">
              <a:spcBef>
                <a:spcPts val="3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1400" err="1">
                <a:solidFill>
                  <a:schemeClr val="bg1"/>
                </a:solidFill>
                <a:latin typeface="Century Gothic"/>
              </a:rPr>
              <a:t>durata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  <a:r>
              <a:rPr lang="en-AU" sz="1400" err="1">
                <a:solidFill>
                  <a:schemeClr val="bg1"/>
                </a:solidFill>
                <a:latin typeface="Century Gothic"/>
              </a:rPr>
              <a:t>progrmma</a:t>
            </a: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53" name="TextBox 66">
            <a:extLst>
              <a:ext uri="{FF2B5EF4-FFF2-40B4-BE49-F238E27FC236}">
                <a16:creationId xmlns:a16="http://schemas.microsoft.com/office/drawing/2014/main" id="{3ED0C25D-7B30-4434-B32B-906166AB3C97}"/>
              </a:ext>
            </a:extLst>
          </p:cNvPr>
          <p:cNvSpPr txBox="1">
            <a:spLocks/>
          </p:cNvSpPr>
          <p:nvPr/>
        </p:nvSpPr>
        <p:spPr bwMode="gray">
          <a:xfrm>
            <a:off x="8073486" y="1202962"/>
            <a:ext cx="1670613" cy="800219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>
                <a:solidFill>
                  <a:schemeClr val="bg1"/>
                </a:solidFill>
                <a:latin typeface="Century Gothic"/>
              </a:rPr>
              <a:t>12 </a:t>
            </a:r>
            <a:br>
              <a:rPr lang="it-IT" sz="2800" b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tartup </a:t>
            </a:r>
            <a:br>
              <a:rPr lang="it-IT" sz="1400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per batch</a:t>
            </a:r>
            <a:endParaRPr lang="it-IT" sz="2800" b="1">
              <a:solidFill>
                <a:schemeClr val="bg1"/>
              </a:solidFill>
            </a:endParaRPr>
          </a:p>
        </p:txBody>
      </p:sp>
      <p:sp>
        <p:nvSpPr>
          <p:cNvPr id="54" name="TextBox 103">
            <a:extLst>
              <a:ext uri="{FF2B5EF4-FFF2-40B4-BE49-F238E27FC236}">
                <a16:creationId xmlns:a16="http://schemas.microsoft.com/office/drawing/2014/main" id="{E5A04700-04BB-46E0-ABEF-8C4EF56F1C6B}"/>
              </a:ext>
            </a:extLst>
          </p:cNvPr>
          <p:cNvSpPr txBox="1">
            <a:spLocks/>
          </p:cNvSpPr>
          <p:nvPr/>
        </p:nvSpPr>
        <p:spPr bwMode="gray">
          <a:xfrm>
            <a:off x="2362818" y="1452166"/>
            <a:ext cx="257481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400">
                <a:solidFill>
                  <a:schemeClr val="bg1"/>
                </a:solidFill>
              </a:rPr>
              <a:t>Sviluppo di un </a:t>
            </a:r>
            <a:r>
              <a:rPr lang="it-IT" sz="1400" b="1">
                <a:solidFill>
                  <a:schemeClr val="bg1"/>
                </a:solidFill>
              </a:rPr>
              <a:t>ecosistema internazionale a Torino</a:t>
            </a:r>
          </a:p>
        </p:txBody>
      </p:sp>
      <p:sp>
        <p:nvSpPr>
          <p:cNvPr id="55" name="TextBox 66">
            <a:extLst>
              <a:ext uri="{FF2B5EF4-FFF2-40B4-BE49-F238E27FC236}">
                <a16:creationId xmlns:a16="http://schemas.microsoft.com/office/drawing/2014/main" id="{DD5D2A73-5223-43BE-A25E-89408935134A}"/>
              </a:ext>
            </a:extLst>
          </p:cNvPr>
          <p:cNvSpPr txBox="1">
            <a:spLocks/>
          </p:cNvSpPr>
          <p:nvPr/>
        </p:nvSpPr>
        <p:spPr bwMode="gray">
          <a:xfrm>
            <a:off x="5569113" y="1202962"/>
            <a:ext cx="2118861" cy="861774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2800" b="1">
                <a:solidFill>
                  <a:schemeClr val="bg1"/>
                </a:solidFill>
                <a:latin typeface="Century Gothic"/>
              </a:rPr>
              <a:t>2 </a:t>
            </a:r>
            <a:br>
              <a:rPr lang="en-AU" sz="2800" b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ettori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(</a:t>
            </a:r>
            <a:r>
              <a:rPr lang="en-AU" sz="1400" b="1">
                <a:solidFill>
                  <a:schemeClr val="bg1"/>
                </a:solidFill>
                <a:latin typeface="Century Gothic"/>
              </a:rPr>
              <a:t>Smart </a:t>
            </a:r>
            <a:r>
              <a:rPr lang="en-AU" sz="1400" b="1" noProof="1">
                <a:solidFill>
                  <a:schemeClr val="bg1"/>
                </a:solidFill>
                <a:latin typeface="Century Gothic"/>
              </a:rPr>
              <a:t>mobility</a:t>
            </a:r>
            <a:r>
              <a:rPr lang="en-AU" sz="1400" b="1">
                <a:solidFill>
                  <a:schemeClr val="bg1"/>
                </a:solidFill>
                <a:latin typeface="Century Gothic"/>
              </a:rPr>
              <a:t> e smart city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)</a:t>
            </a:r>
            <a:endParaRPr lang="en-AU" sz="2800" b="1">
              <a:solidFill>
                <a:schemeClr val="bg1"/>
              </a:solidFill>
            </a:endParaRPr>
          </a:p>
        </p:txBody>
      </p:sp>
      <p:sp>
        <p:nvSpPr>
          <p:cNvPr id="58" name="TextBox 103">
            <a:extLst>
              <a:ext uri="{FF2B5EF4-FFF2-40B4-BE49-F238E27FC236}">
                <a16:creationId xmlns:a16="http://schemas.microsoft.com/office/drawing/2014/main" id="{A37161D5-C4F1-4CE2-9CDE-BBDDF97A25A6}"/>
              </a:ext>
            </a:extLst>
          </p:cNvPr>
          <p:cNvSpPr txBox="1">
            <a:spLocks/>
          </p:cNvSpPr>
          <p:nvPr/>
        </p:nvSpPr>
        <p:spPr bwMode="gray">
          <a:xfrm>
            <a:off x="2362818" y="2657437"/>
            <a:ext cx="257481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400">
                <a:solidFill>
                  <a:schemeClr val="bg1"/>
                </a:solidFill>
              </a:rPr>
              <a:t>Creazione di </a:t>
            </a:r>
            <a:r>
              <a:rPr lang="it-IT" sz="1400" b="1">
                <a:solidFill>
                  <a:schemeClr val="bg1"/>
                </a:solidFill>
              </a:rPr>
              <a:t>interconnessioni con aziende del territorio </a:t>
            </a:r>
            <a:r>
              <a:rPr lang="it-IT" sz="1400">
                <a:solidFill>
                  <a:schemeClr val="bg1"/>
                </a:solidFill>
              </a:rPr>
              <a:t>in ottica open </a:t>
            </a:r>
            <a:r>
              <a:rPr lang="it-IT" sz="1400" err="1">
                <a:solidFill>
                  <a:schemeClr val="bg1"/>
                </a:solidFill>
              </a:rPr>
              <a:t>innovation</a:t>
            </a:r>
            <a:endParaRPr lang="it-IT" sz="1400">
              <a:solidFill>
                <a:schemeClr val="bg1"/>
              </a:solidFill>
            </a:endParaRPr>
          </a:p>
        </p:txBody>
      </p:sp>
      <p:sp>
        <p:nvSpPr>
          <p:cNvPr id="61" name="TextBox 66">
            <a:extLst>
              <a:ext uri="{FF2B5EF4-FFF2-40B4-BE49-F238E27FC236}">
                <a16:creationId xmlns:a16="http://schemas.microsoft.com/office/drawing/2014/main" id="{6C6AA3C4-4FA7-41F5-B704-D59072539E5C}"/>
              </a:ext>
            </a:extLst>
          </p:cNvPr>
          <p:cNvSpPr txBox="1">
            <a:spLocks/>
          </p:cNvSpPr>
          <p:nvPr/>
        </p:nvSpPr>
        <p:spPr bwMode="gray">
          <a:xfrm>
            <a:off x="5569113" y="2519715"/>
            <a:ext cx="2118861" cy="800219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 noProof="1">
                <a:solidFill>
                  <a:schemeClr val="bg1"/>
                </a:solidFill>
                <a:latin typeface="Century Gothic"/>
              </a:rPr>
              <a:t>3 </a:t>
            </a:r>
            <a:br>
              <a:rPr lang="it-IT" sz="2400" b="1" noProof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ettori</a:t>
            </a:r>
            <a:r>
              <a:rPr lang="it-IT" sz="1400" noProof="1">
                <a:solidFill>
                  <a:schemeClr val="bg1"/>
                </a:solidFill>
                <a:latin typeface="Century Gothic"/>
              </a:rPr>
              <a:t> (</a:t>
            </a:r>
            <a:r>
              <a:rPr lang="it-IT" sz="1400" b="1" noProof="1">
                <a:solidFill>
                  <a:schemeClr val="bg1"/>
                </a:solidFill>
                <a:latin typeface="Century Gothic"/>
              </a:rPr>
              <a:t>Fashion, Food&amp;Wine, Turism</a:t>
            </a:r>
            <a:r>
              <a:rPr lang="it-IT" sz="1400" noProof="1">
                <a:solidFill>
                  <a:schemeClr val="bg1"/>
                </a:solidFill>
                <a:latin typeface="Century Gothic"/>
              </a:rPr>
              <a:t>)</a:t>
            </a:r>
            <a:endParaRPr lang="it-IT" sz="2400" b="1" noProof="1">
              <a:solidFill>
                <a:schemeClr val="bg1"/>
              </a:solidFill>
            </a:endParaRPr>
          </a:p>
        </p:txBody>
      </p:sp>
      <p:sp>
        <p:nvSpPr>
          <p:cNvPr id="62" name="TextBox 103">
            <a:extLst>
              <a:ext uri="{FF2B5EF4-FFF2-40B4-BE49-F238E27FC236}">
                <a16:creationId xmlns:a16="http://schemas.microsoft.com/office/drawing/2014/main" id="{69C190F4-03B6-4C6E-8FFB-84EB052B1849}"/>
              </a:ext>
            </a:extLst>
          </p:cNvPr>
          <p:cNvSpPr txBox="1">
            <a:spLocks/>
          </p:cNvSpPr>
          <p:nvPr/>
        </p:nvSpPr>
        <p:spPr bwMode="gray">
          <a:xfrm>
            <a:off x="2362818" y="3976567"/>
            <a:ext cx="257481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400">
                <a:solidFill>
                  <a:schemeClr val="bg1"/>
                </a:solidFill>
              </a:rPr>
              <a:t>Stimolazione dell’</a:t>
            </a:r>
            <a:r>
              <a:rPr lang="it-IT" sz="1400" b="1">
                <a:solidFill>
                  <a:schemeClr val="bg1"/>
                </a:solidFill>
              </a:rPr>
              <a:t>ecosistema innovativo di Napoli </a:t>
            </a:r>
            <a:r>
              <a:rPr lang="it-IT" sz="1400">
                <a:solidFill>
                  <a:schemeClr val="bg1"/>
                </a:solidFill>
              </a:rPr>
              <a:t>e del suo territorio</a:t>
            </a:r>
          </a:p>
        </p:txBody>
      </p:sp>
      <p:sp>
        <p:nvSpPr>
          <p:cNvPr id="66" name="TextBox 66">
            <a:extLst>
              <a:ext uri="{FF2B5EF4-FFF2-40B4-BE49-F238E27FC236}">
                <a16:creationId xmlns:a16="http://schemas.microsoft.com/office/drawing/2014/main" id="{83C212DC-A5E8-4FD7-8491-757AF45E4788}"/>
              </a:ext>
            </a:extLst>
          </p:cNvPr>
          <p:cNvSpPr txBox="1">
            <a:spLocks/>
          </p:cNvSpPr>
          <p:nvPr/>
        </p:nvSpPr>
        <p:spPr bwMode="gray">
          <a:xfrm>
            <a:off x="5402425" y="3752785"/>
            <a:ext cx="2452236" cy="1015663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 noProof="1">
                <a:solidFill>
                  <a:schemeClr val="bg1"/>
                </a:solidFill>
                <a:latin typeface="Century Gothic"/>
              </a:rPr>
              <a:t>3 </a:t>
            </a:r>
            <a:br>
              <a:rPr lang="it-IT" sz="2400" b="1" noProof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ettori</a:t>
            </a:r>
            <a:r>
              <a:rPr lang="it-IT" sz="1400" noProof="1">
                <a:solidFill>
                  <a:schemeClr val="bg1"/>
                </a:solidFill>
                <a:latin typeface="Century Gothic"/>
              </a:rPr>
              <a:t> (</a:t>
            </a:r>
            <a:r>
              <a:rPr lang="it-IT" sz="1400" b="1" noProof="1">
                <a:solidFill>
                  <a:schemeClr val="bg1"/>
                </a:solidFill>
                <a:latin typeface="Century Gothic"/>
              </a:rPr>
              <a:t>Bio materials, Food&amp;Nutraceutical, Regenerative agriculture</a:t>
            </a:r>
            <a:r>
              <a:rPr lang="it-IT" sz="1400" noProof="1">
                <a:solidFill>
                  <a:schemeClr val="bg1"/>
                </a:solidFill>
                <a:latin typeface="Century Gothic"/>
              </a:rPr>
              <a:t>)</a:t>
            </a:r>
            <a:endParaRPr lang="it-IT" sz="2400" b="1" noProof="1">
              <a:solidFill>
                <a:schemeClr val="bg1"/>
              </a:solidFill>
            </a:endParaRPr>
          </a:p>
        </p:txBody>
      </p:sp>
      <p:sp>
        <p:nvSpPr>
          <p:cNvPr id="68" name="TextBox 103">
            <a:extLst>
              <a:ext uri="{FF2B5EF4-FFF2-40B4-BE49-F238E27FC236}">
                <a16:creationId xmlns:a16="http://schemas.microsoft.com/office/drawing/2014/main" id="{DF10ACB7-9C24-4FD0-83AD-09B900541C15}"/>
              </a:ext>
            </a:extLst>
          </p:cNvPr>
          <p:cNvSpPr txBox="1">
            <a:spLocks/>
          </p:cNvSpPr>
          <p:nvPr/>
        </p:nvSpPr>
        <p:spPr bwMode="gray">
          <a:xfrm>
            <a:off x="2362819" y="5141332"/>
            <a:ext cx="2574811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400" b="1">
                <a:solidFill>
                  <a:schemeClr val="bg1"/>
                </a:solidFill>
              </a:rPr>
              <a:t>Creazione di un Hub tecnologico Travel Tech </a:t>
            </a:r>
            <a:r>
              <a:rPr lang="it-IT" sz="1400">
                <a:solidFill>
                  <a:schemeClr val="bg1"/>
                </a:solidFill>
              </a:rPr>
              <a:t>per favorire la crescita delle imprese operanti sul territorio</a:t>
            </a:r>
          </a:p>
        </p:txBody>
      </p:sp>
      <p:sp>
        <p:nvSpPr>
          <p:cNvPr id="73" name="TextBox 66">
            <a:extLst>
              <a:ext uri="{FF2B5EF4-FFF2-40B4-BE49-F238E27FC236}">
                <a16:creationId xmlns:a16="http://schemas.microsoft.com/office/drawing/2014/main" id="{7A73E272-4C74-41A9-AFF7-2CE20C2C3837}"/>
              </a:ext>
            </a:extLst>
          </p:cNvPr>
          <p:cNvSpPr txBox="1">
            <a:spLocks/>
          </p:cNvSpPr>
          <p:nvPr/>
        </p:nvSpPr>
        <p:spPr bwMode="gray">
          <a:xfrm>
            <a:off x="5402425" y="5096902"/>
            <a:ext cx="2452236" cy="584775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 noProof="1">
                <a:solidFill>
                  <a:schemeClr val="bg1"/>
                </a:solidFill>
                <a:latin typeface="Century Gothic"/>
              </a:rPr>
              <a:t>1 </a:t>
            </a:r>
            <a:br>
              <a:rPr lang="it-IT" sz="2400" b="1" noProof="1">
                <a:solidFill>
                  <a:schemeClr val="bg1"/>
                </a:solidFill>
                <a:latin typeface="Century Gothic"/>
              </a:rPr>
            </a:br>
            <a:r>
              <a:rPr lang="it-IT" sz="1400" noProof="1">
                <a:solidFill>
                  <a:schemeClr val="bg1"/>
                </a:solidFill>
                <a:latin typeface="Century Gothic"/>
              </a:rPr>
              <a:t>Verticale sul </a:t>
            </a:r>
            <a:r>
              <a:rPr lang="it-IT" sz="1400" b="1" noProof="1">
                <a:solidFill>
                  <a:schemeClr val="bg1"/>
                </a:solidFill>
                <a:latin typeface="Century Gothic"/>
              </a:rPr>
              <a:t>Turismo</a:t>
            </a:r>
            <a:endParaRPr lang="it-IT" sz="2400" noProof="1">
              <a:solidFill>
                <a:schemeClr val="bg1"/>
              </a:solidFill>
            </a:endParaRPr>
          </a:p>
        </p:txBody>
      </p:sp>
      <p:pic>
        <p:nvPicPr>
          <p:cNvPr id="76" name="Immagine 75">
            <a:extLst>
              <a:ext uri="{FF2B5EF4-FFF2-40B4-BE49-F238E27FC236}">
                <a16:creationId xmlns:a16="http://schemas.microsoft.com/office/drawing/2014/main" id="{6FE259C2-E43B-4023-AA81-37DB175C4F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5263" y="3629153"/>
            <a:ext cx="1663516" cy="1193142"/>
          </a:xfrm>
          <a:prstGeom prst="rect">
            <a:avLst/>
          </a:prstGeom>
        </p:spPr>
      </p:pic>
      <p:sp>
        <p:nvSpPr>
          <p:cNvPr id="79" name="Titolo 3">
            <a:extLst>
              <a:ext uri="{FF2B5EF4-FFF2-40B4-BE49-F238E27FC236}">
                <a16:creationId xmlns:a16="http://schemas.microsoft.com/office/drawing/2014/main" id="{3441113E-07B8-42E2-BE58-0F541B8F6E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1284" y="366713"/>
            <a:ext cx="5404295" cy="408237"/>
          </a:xfrm>
        </p:spPr>
        <p:txBody>
          <a:bodyPr/>
          <a:lstStyle/>
          <a:p>
            <a:r>
              <a:rPr lang="it-IT"/>
              <a:t>Ecosistemi, i principali numeri</a:t>
            </a:r>
          </a:p>
        </p:txBody>
      </p:sp>
      <p:sp>
        <p:nvSpPr>
          <p:cNvPr id="29" name="TextBox 66">
            <a:extLst>
              <a:ext uri="{FF2B5EF4-FFF2-40B4-BE49-F238E27FC236}">
                <a16:creationId xmlns:a16="http://schemas.microsoft.com/office/drawing/2014/main" id="{9E83E6C1-C52B-4940-BAD1-CC6C1D25189B}"/>
              </a:ext>
            </a:extLst>
          </p:cNvPr>
          <p:cNvSpPr txBox="1">
            <a:spLocks/>
          </p:cNvSpPr>
          <p:nvPr/>
        </p:nvSpPr>
        <p:spPr bwMode="gray">
          <a:xfrm>
            <a:off x="8092535" y="2519715"/>
            <a:ext cx="1670613" cy="800219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>
                <a:solidFill>
                  <a:schemeClr val="bg1"/>
                </a:solidFill>
                <a:latin typeface="Century Gothic"/>
              </a:rPr>
              <a:t>6 </a:t>
            </a:r>
            <a:br>
              <a:rPr lang="it-IT" sz="2800" b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tartup </a:t>
            </a:r>
            <a:br>
              <a:rPr lang="it-IT" sz="1400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per batch</a:t>
            </a:r>
            <a:endParaRPr lang="it-IT" sz="2800" b="1">
              <a:solidFill>
                <a:schemeClr val="bg1"/>
              </a:solidFill>
            </a:endParaRPr>
          </a:p>
        </p:txBody>
      </p:sp>
      <p:sp>
        <p:nvSpPr>
          <p:cNvPr id="30" name="TextBox 66">
            <a:extLst>
              <a:ext uri="{FF2B5EF4-FFF2-40B4-BE49-F238E27FC236}">
                <a16:creationId xmlns:a16="http://schemas.microsoft.com/office/drawing/2014/main" id="{D01F47FB-9E03-42B6-9C94-37449636DA21}"/>
              </a:ext>
            </a:extLst>
          </p:cNvPr>
          <p:cNvSpPr txBox="1">
            <a:spLocks/>
          </p:cNvSpPr>
          <p:nvPr/>
        </p:nvSpPr>
        <p:spPr bwMode="gray">
          <a:xfrm>
            <a:off x="8092535" y="3752785"/>
            <a:ext cx="1670613" cy="800219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>
                <a:solidFill>
                  <a:schemeClr val="bg1"/>
                </a:solidFill>
                <a:latin typeface="Century Gothic"/>
              </a:rPr>
              <a:t>10 </a:t>
            </a:r>
            <a:br>
              <a:rPr lang="it-IT" sz="2800" b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tartup </a:t>
            </a:r>
            <a:br>
              <a:rPr lang="it-IT" sz="1400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per batch</a:t>
            </a:r>
            <a:endParaRPr lang="it-IT" sz="2800" b="1">
              <a:solidFill>
                <a:schemeClr val="bg1"/>
              </a:solidFill>
            </a:endParaRPr>
          </a:p>
        </p:txBody>
      </p:sp>
      <p:sp>
        <p:nvSpPr>
          <p:cNvPr id="32" name="TextBox 66">
            <a:extLst>
              <a:ext uri="{FF2B5EF4-FFF2-40B4-BE49-F238E27FC236}">
                <a16:creationId xmlns:a16="http://schemas.microsoft.com/office/drawing/2014/main" id="{8A11606A-A347-4CE8-9442-1A24D26D174F}"/>
              </a:ext>
            </a:extLst>
          </p:cNvPr>
          <p:cNvSpPr txBox="1">
            <a:spLocks/>
          </p:cNvSpPr>
          <p:nvPr/>
        </p:nvSpPr>
        <p:spPr bwMode="gray">
          <a:xfrm>
            <a:off x="8083584" y="5096902"/>
            <a:ext cx="1670613" cy="800219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r>
              <a:rPr lang="it-IT" sz="2400" b="1">
                <a:solidFill>
                  <a:schemeClr val="bg1"/>
                </a:solidFill>
                <a:latin typeface="Century Gothic"/>
              </a:rPr>
              <a:t>10 </a:t>
            </a:r>
            <a:br>
              <a:rPr lang="it-IT" sz="2800" b="1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Startup </a:t>
            </a:r>
            <a:br>
              <a:rPr lang="it-IT" sz="1400">
                <a:solidFill>
                  <a:schemeClr val="bg1"/>
                </a:solidFill>
                <a:latin typeface="Century Gothic"/>
              </a:rPr>
            </a:br>
            <a:r>
              <a:rPr lang="it-IT" sz="1400">
                <a:solidFill>
                  <a:schemeClr val="bg1"/>
                </a:solidFill>
                <a:latin typeface="Century Gothic"/>
              </a:rPr>
              <a:t>per batch</a:t>
            </a:r>
            <a:endParaRPr lang="it-IT" sz="2800" b="1">
              <a:solidFill>
                <a:schemeClr val="bg1"/>
              </a:solidFill>
            </a:endParaRPr>
          </a:p>
        </p:txBody>
      </p:sp>
      <p:sp>
        <p:nvSpPr>
          <p:cNvPr id="33" name="TextBox 66">
            <a:extLst>
              <a:ext uri="{FF2B5EF4-FFF2-40B4-BE49-F238E27FC236}">
                <a16:creationId xmlns:a16="http://schemas.microsoft.com/office/drawing/2014/main" id="{9CD9D0EB-D8BC-4AC9-9F00-0CBB7684D5B4}"/>
              </a:ext>
            </a:extLst>
          </p:cNvPr>
          <p:cNvSpPr txBox="1">
            <a:spLocks/>
          </p:cNvSpPr>
          <p:nvPr/>
        </p:nvSpPr>
        <p:spPr bwMode="gray">
          <a:xfrm>
            <a:off x="9835482" y="2519715"/>
            <a:ext cx="2118861" cy="877163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2400" b="1">
                <a:solidFill>
                  <a:schemeClr val="bg1"/>
                </a:solidFill>
                <a:latin typeface="Century Gothic"/>
              </a:rPr>
              <a:t>4</a:t>
            </a:r>
            <a:br>
              <a:rPr lang="en-AU" sz="2400" b="1">
                <a:solidFill>
                  <a:schemeClr val="bg1"/>
                </a:solidFill>
                <a:latin typeface="Century Gothic"/>
              </a:rPr>
            </a:br>
            <a:r>
              <a:rPr lang="en-AU" sz="1400" b="1" err="1">
                <a:solidFill>
                  <a:schemeClr val="bg1"/>
                </a:solidFill>
                <a:latin typeface="Century Gothic"/>
              </a:rPr>
              <a:t>Mesi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</a:p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1400" err="1">
                <a:solidFill>
                  <a:schemeClr val="bg1"/>
                </a:solidFill>
                <a:latin typeface="Century Gothic"/>
              </a:rPr>
              <a:t>durata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  <a:r>
              <a:rPr lang="en-AU" sz="1400" err="1">
                <a:solidFill>
                  <a:schemeClr val="bg1"/>
                </a:solidFill>
                <a:latin typeface="Century Gothic"/>
              </a:rPr>
              <a:t>progrmma</a:t>
            </a: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35" name="TextBox 66">
            <a:extLst>
              <a:ext uri="{FF2B5EF4-FFF2-40B4-BE49-F238E27FC236}">
                <a16:creationId xmlns:a16="http://schemas.microsoft.com/office/drawing/2014/main" id="{0FDB2195-1A58-4825-8353-484F84B0744E}"/>
              </a:ext>
            </a:extLst>
          </p:cNvPr>
          <p:cNvSpPr txBox="1">
            <a:spLocks/>
          </p:cNvSpPr>
          <p:nvPr/>
        </p:nvSpPr>
        <p:spPr bwMode="gray">
          <a:xfrm>
            <a:off x="9832782" y="3752785"/>
            <a:ext cx="2118861" cy="877163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2400" b="1">
                <a:solidFill>
                  <a:schemeClr val="bg1"/>
                </a:solidFill>
                <a:latin typeface="Century Gothic"/>
              </a:rPr>
              <a:t>5</a:t>
            </a:r>
            <a:br>
              <a:rPr lang="en-AU" sz="2400" b="1">
                <a:solidFill>
                  <a:schemeClr val="bg1"/>
                </a:solidFill>
                <a:latin typeface="Century Gothic"/>
              </a:rPr>
            </a:br>
            <a:r>
              <a:rPr lang="en-AU" sz="1400" b="1" err="1">
                <a:solidFill>
                  <a:schemeClr val="bg1"/>
                </a:solidFill>
                <a:latin typeface="Century Gothic"/>
              </a:rPr>
              <a:t>Mesi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</a:p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1400" err="1">
                <a:solidFill>
                  <a:schemeClr val="bg1"/>
                </a:solidFill>
                <a:latin typeface="Century Gothic"/>
              </a:rPr>
              <a:t>durata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  <a:r>
              <a:rPr lang="en-AU" sz="1400" err="1">
                <a:solidFill>
                  <a:schemeClr val="bg1"/>
                </a:solidFill>
                <a:latin typeface="Century Gothic"/>
              </a:rPr>
              <a:t>progrmma</a:t>
            </a: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36" name="TextBox 66">
            <a:extLst>
              <a:ext uri="{FF2B5EF4-FFF2-40B4-BE49-F238E27FC236}">
                <a16:creationId xmlns:a16="http://schemas.microsoft.com/office/drawing/2014/main" id="{800F14FD-EF4D-41C5-8D02-47F3487676C5}"/>
              </a:ext>
            </a:extLst>
          </p:cNvPr>
          <p:cNvSpPr txBox="1">
            <a:spLocks/>
          </p:cNvSpPr>
          <p:nvPr/>
        </p:nvSpPr>
        <p:spPr bwMode="gray">
          <a:xfrm>
            <a:off x="9802525" y="5019958"/>
            <a:ext cx="2118861" cy="877163"/>
          </a:xfrm>
          <a:prstGeom prst="rect">
            <a:avLst/>
          </a:prstGeom>
          <a:ln w="6350"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2400" b="1">
                <a:solidFill>
                  <a:schemeClr val="bg1"/>
                </a:solidFill>
                <a:latin typeface="Century Gothic"/>
              </a:rPr>
              <a:t>6</a:t>
            </a:r>
            <a:br>
              <a:rPr lang="en-AU" sz="2400" b="1">
                <a:solidFill>
                  <a:schemeClr val="bg1"/>
                </a:solidFill>
                <a:latin typeface="Century Gothic"/>
              </a:rPr>
            </a:br>
            <a:r>
              <a:rPr lang="en-AU" sz="1400" b="1" err="1">
                <a:solidFill>
                  <a:schemeClr val="bg1"/>
                </a:solidFill>
                <a:latin typeface="Century Gothic"/>
              </a:rPr>
              <a:t>Mesi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</a:p>
          <a:p>
            <a:pPr algn="ctr" defTabSz="1218095" fontAlgn="base">
              <a:spcBef>
                <a:spcPts val="400"/>
              </a:spcBef>
              <a:spcAft>
                <a:spcPct val="0"/>
              </a:spcAft>
              <a:buClr>
                <a:srgbClr val="44546A"/>
              </a:buClr>
            </a:pPr>
            <a:r>
              <a:rPr lang="en-AU" sz="1400" err="1">
                <a:solidFill>
                  <a:schemeClr val="bg1"/>
                </a:solidFill>
                <a:latin typeface="Century Gothic"/>
              </a:rPr>
              <a:t>durata</a:t>
            </a:r>
            <a:r>
              <a:rPr lang="en-AU" sz="1400">
                <a:solidFill>
                  <a:schemeClr val="bg1"/>
                </a:solidFill>
                <a:latin typeface="Century Gothic"/>
              </a:rPr>
              <a:t> </a:t>
            </a:r>
            <a:r>
              <a:rPr lang="en-AU" sz="1400" err="1">
                <a:solidFill>
                  <a:schemeClr val="bg1"/>
                </a:solidFill>
                <a:latin typeface="Century Gothic"/>
              </a:rPr>
              <a:t>progrmma</a:t>
            </a:r>
            <a:endParaRPr lang="it-IT" sz="1600">
              <a:solidFill>
                <a:schemeClr val="bg1"/>
              </a:solidFill>
            </a:endParaRPr>
          </a:p>
        </p:txBody>
      </p:sp>
      <p:pic>
        <p:nvPicPr>
          <p:cNvPr id="6" name="Immagine 5" descr="Immagine che contiene logo&#10;&#10;Descrizione generata automaticamente">
            <a:extLst>
              <a:ext uri="{FF2B5EF4-FFF2-40B4-BE49-F238E27FC236}">
                <a16:creationId xmlns:a16="http://schemas.microsoft.com/office/drawing/2014/main" id="{AF12B4E2-B302-3AC7-500A-11CC62BB944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3135" b="26912"/>
          <a:stretch/>
        </p:blipFill>
        <p:spPr>
          <a:xfrm>
            <a:off x="402363" y="5242716"/>
            <a:ext cx="1389316" cy="54719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ED3E31E2-4DCE-CFCB-5759-29DEAB8529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514" y="1056743"/>
            <a:ext cx="1641015" cy="1379572"/>
          </a:xfrm>
          <a:prstGeom prst="rect">
            <a:avLst/>
          </a:prstGeom>
        </p:spPr>
      </p:pic>
      <p:cxnSp>
        <p:nvCxnSpPr>
          <p:cNvPr id="8" name="Connettore 1 34">
            <a:extLst>
              <a:ext uri="{FF2B5EF4-FFF2-40B4-BE49-F238E27FC236}">
                <a16:creationId xmlns:a16="http://schemas.microsoft.com/office/drawing/2014/main" id="{9AD24FE5-466C-8C8A-E0DB-2180DC03545E}"/>
              </a:ext>
            </a:extLst>
          </p:cNvPr>
          <p:cNvCxnSpPr>
            <a:cxnSpLocks/>
          </p:cNvCxnSpPr>
          <p:nvPr/>
        </p:nvCxnSpPr>
        <p:spPr>
          <a:xfrm>
            <a:off x="276514" y="2331184"/>
            <a:ext cx="114227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1 34">
            <a:extLst>
              <a:ext uri="{FF2B5EF4-FFF2-40B4-BE49-F238E27FC236}">
                <a16:creationId xmlns:a16="http://schemas.microsoft.com/office/drawing/2014/main" id="{38152B78-2BA6-9425-2BFA-72D1138F39BC}"/>
              </a:ext>
            </a:extLst>
          </p:cNvPr>
          <p:cNvCxnSpPr>
            <a:cxnSpLocks/>
          </p:cNvCxnSpPr>
          <p:nvPr/>
        </p:nvCxnSpPr>
        <p:spPr>
          <a:xfrm>
            <a:off x="276514" y="3635549"/>
            <a:ext cx="114227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1 34">
            <a:extLst>
              <a:ext uri="{FF2B5EF4-FFF2-40B4-BE49-F238E27FC236}">
                <a16:creationId xmlns:a16="http://schemas.microsoft.com/office/drawing/2014/main" id="{CCBD7645-3FF3-2202-522F-07FE55DAB435}"/>
              </a:ext>
            </a:extLst>
          </p:cNvPr>
          <p:cNvCxnSpPr>
            <a:cxnSpLocks/>
          </p:cNvCxnSpPr>
          <p:nvPr/>
        </p:nvCxnSpPr>
        <p:spPr>
          <a:xfrm>
            <a:off x="276514" y="4939913"/>
            <a:ext cx="114227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10850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o 11">
            <a:extLst>
              <a:ext uri="{FF2B5EF4-FFF2-40B4-BE49-F238E27FC236}">
                <a16:creationId xmlns:a16="http://schemas.microsoft.com/office/drawing/2014/main" id="{D85D2D9E-6701-C89B-601C-F8F1976B8E8B}"/>
              </a:ext>
            </a:extLst>
          </p:cNvPr>
          <p:cNvGrpSpPr/>
          <p:nvPr/>
        </p:nvGrpSpPr>
        <p:grpSpPr>
          <a:xfrm>
            <a:off x="0" y="948581"/>
            <a:ext cx="12207705" cy="5228585"/>
            <a:chOff x="0" y="948581"/>
            <a:chExt cx="12207705" cy="5228585"/>
          </a:xfrm>
        </p:grpSpPr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CFDA1BBE-864C-B76A-432F-9EBA7B9A74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4978" b="200"/>
            <a:stretch/>
          </p:blipFill>
          <p:spPr>
            <a:xfrm>
              <a:off x="0" y="948581"/>
              <a:ext cx="12201830" cy="5216287"/>
            </a:xfrm>
            <a:prstGeom prst="rect">
              <a:avLst/>
            </a:prstGeom>
          </p:spPr>
        </p:pic>
        <p:sp>
          <p:nvSpPr>
            <p:cNvPr id="14" name="Rectangle 102">
              <a:extLst>
                <a:ext uri="{FF2B5EF4-FFF2-40B4-BE49-F238E27FC236}">
                  <a16:creationId xmlns:a16="http://schemas.microsoft.com/office/drawing/2014/main" id="{6D7DF250-D397-415B-A50B-9B9AEB02EA04}"/>
                </a:ext>
              </a:extLst>
            </p:cNvPr>
            <p:cNvSpPr>
              <a:spLocks/>
            </p:cNvSpPr>
            <p:nvPr/>
          </p:nvSpPr>
          <p:spPr>
            <a:xfrm>
              <a:off x="0" y="960879"/>
              <a:ext cx="12207705" cy="5216287"/>
            </a:xfrm>
            <a:prstGeom prst="rect">
              <a:avLst/>
            </a:prstGeom>
            <a:solidFill>
              <a:srgbClr val="406B9B">
                <a:alpha val="54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32" err="1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3" name="Titolo 1">
            <a:extLst>
              <a:ext uri="{FF2B5EF4-FFF2-40B4-BE49-F238E27FC236}">
                <a16:creationId xmlns:a16="http://schemas.microsoft.com/office/drawing/2014/main" id="{E4566EF5-D7FC-46FE-8292-07C29765A029}"/>
              </a:ext>
            </a:extLst>
          </p:cNvPr>
          <p:cNvSpPr txBox="1">
            <a:spLocks/>
          </p:cNvSpPr>
          <p:nvPr/>
        </p:nvSpPr>
        <p:spPr>
          <a:xfrm>
            <a:off x="531450" y="882129"/>
            <a:ext cx="2254039" cy="357707"/>
          </a:xfrm>
          <a:prstGeom prst="rect">
            <a:avLst/>
          </a:prstGeom>
        </p:spPr>
        <p:txBody>
          <a:bodyPr lIns="0" tIns="0" rIns="0" bIns="0"/>
          <a:lstStyle/>
          <a:p>
            <a:pPr defTabSz="9143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t-IT" sz="200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531284" y="366713"/>
            <a:ext cx="5404295" cy="408237"/>
          </a:xfrm>
        </p:spPr>
        <p:txBody>
          <a:bodyPr/>
          <a:lstStyle/>
          <a:p>
            <a:r>
              <a:rPr lang="it-IT"/>
              <a:t>Ecosistemi, i principali numeri</a:t>
            </a:r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19DF6A93-FF55-3B4F-98E4-95113017AE6D}"/>
              </a:ext>
            </a:extLst>
          </p:cNvPr>
          <p:cNvGrpSpPr/>
          <p:nvPr/>
        </p:nvGrpSpPr>
        <p:grpSpPr>
          <a:xfrm>
            <a:off x="403641" y="4140769"/>
            <a:ext cx="2856685" cy="1284653"/>
            <a:chOff x="5979978" y="2223896"/>
            <a:chExt cx="2799815" cy="1259081"/>
          </a:xfrm>
        </p:grpSpPr>
        <p:sp>
          <p:nvSpPr>
            <p:cNvPr id="28" name="CasellaDiTesto 91">
              <a:extLst>
                <a:ext uri="{FF2B5EF4-FFF2-40B4-BE49-F238E27FC236}">
                  <a16:creationId xmlns:a16="http://schemas.microsoft.com/office/drawing/2014/main" id="{73A7861A-90F1-3340-B2A2-7B1D507848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79978" y="2223896"/>
              <a:ext cx="1240226" cy="6937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32962">
                <a:spcBef>
                  <a:spcPct val="0"/>
                </a:spcBef>
                <a:spcAft>
                  <a:spcPct val="0"/>
                </a:spcAft>
              </a:pPr>
              <a:r>
                <a:rPr lang="it-IT" sz="4000" b="1">
                  <a:solidFill>
                    <a:srgbClr val="FFFFFF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11</a:t>
              </a:r>
              <a:endParaRPr lang="it-IT" sz="4000"/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F2DC8DFD-16C8-8D48-BF26-F2BF9DA31DB1}"/>
                </a:ext>
              </a:extLst>
            </p:cNvPr>
            <p:cNvSpPr/>
            <p:nvPr/>
          </p:nvSpPr>
          <p:spPr>
            <a:xfrm>
              <a:off x="6640283" y="2909843"/>
              <a:ext cx="2139510" cy="573134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alt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STARTUP INSEDIATE</a:t>
              </a:r>
              <a:br>
                <a:rPr lang="it-IT" alt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it-IT" alt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SUI TERRITORI</a:t>
              </a:r>
              <a:endParaRPr lang="en-GB" altLang="en-US" sz="1600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61775C3D-F9AB-E444-B6E0-BEB359791851}"/>
              </a:ext>
            </a:extLst>
          </p:cNvPr>
          <p:cNvGrpSpPr/>
          <p:nvPr/>
        </p:nvGrpSpPr>
        <p:grpSpPr>
          <a:xfrm>
            <a:off x="8515693" y="4198913"/>
            <a:ext cx="2914678" cy="1390413"/>
            <a:chOff x="3268853" y="2360025"/>
            <a:chExt cx="2856655" cy="1362734"/>
          </a:xfrm>
        </p:grpSpPr>
        <p:grpSp>
          <p:nvGrpSpPr>
            <p:cNvPr id="33" name="Gruppo 32">
              <a:extLst>
                <a:ext uri="{FF2B5EF4-FFF2-40B4-BE49-F238E27FC236}">
                  <a16:creationId xmlns:a16="http://schemas.microsoft.com/office/drawing/2014/main" id="{F74C2C6C-64DA-4E4E-9CC8-D2ED3A4700A2}"/>
                </a:ext>
              </a:extLst>
            </p:cNvPr>
            <p:cNvGrpSpPr/>
            <p:nvPr/>
          </p:nvGrpSpPr>
          <p:grpSpPr>
            <a:xfrm>
              <a:off x="3418157" y="2360025"/>
              <a:ext cx="2707351" cy="1362734"/>
              <a:chOff x="3454270" y="2294747"/>
              <a:chExt cx="2707351" cy="1362734"/>
            </a:xfrm>
          </p:grpSpPr>
          <p:sp>
            <p:nvSpPr>
              <p:cNvPr id="36" name="TextBox 66">
                <a:extLst>
                  <a:ext uri="{FF2B5EF4-FFF2-40B4-BE49-F238E27FC236}">
                    <a16:creationId xmlns:a16="http://schemas.microsoft.com/office/drawing/2014/main" id="{FC331F22-CB2A-E34F-8DD6-38A53732BC3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454270" y="2294747"/>
                <a:ext cx="843677" cy="603299"/>
              </a:xfrm>
              <a:prstGeom prst="rect">
                <a:avLst/>
              </a:prstGeom>
            </p:spPr>
            <p:txBody>
              <a:bodyPr vert="horz" wrap="none" lIns="0" tIns="0" rIns="0" bIns="0" rtlCol="0" anchor="b" anchorCtr="0">
                <a:spAutoFit/>
              </a:bodyPr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algn="r" defTabSz="1218095" fontAlgn="base">
                  <a:spcBef>
                    <a:spcPts val="612"/>
                  </a:spcBef>
                  <a:spcAft>
                    <a:spcPct val="0"/>
                  </a:spcAft>
                  <a:buClr>
                    <a:srgbClr val="003A79"/>
                  </a:buClr>
                </a:pPr>
                <a:r>
                  <a:rPr lang="it-IT" sz="4000" b="1">
                    <a:solidFill>
                      <a:schemeClr val="bg1"/>
                    </a:solidFill>
                  </a:rPr>
                  <a:t>534</a:t>
                </a:r>
                <a:endParaRPr lang="it-IT" sz="40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TextBox 67">
                <a:extLst>
                  <a:ext uri="{FF2B5EF4-FFF2-40B4-BE49-F238E27FC236}">
                    <a16:creationId xmlns:a16="http://schemas.microsoft.com/office/drawing/2014/main" id="{24A06F00-5F94-0B46-99CB-E3270A99CF6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022112" y="2919005"/>
                <a:ext cx="2139509" cy="738476"/>
              </a:xfrm>
              <a:prstGeom prst="rect">
                <a:avLst/>
              </a:prstGeom>
            </p:spPr>
            <p:txBody>
              <a:bodyPr vert="horz" wrap="square" lIns="0" tIns="0" rIns="0" bIns="0" rtlCol="0" anchor="b">
                <a:spAutoFit/>
              </a:bodyPr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932962" fontAlgn="base">
                  <a:spcBef>
                    <a:spcPts val="612"/>
                  </a:spcBef>
                  <a:spcAft>
                    <a:spcPct val="0"/>
                  </a:spcAft>
                  <a:buClr>
                    <a:srgbClr val="003A79"/>
                  </a:buClr>
                  <a:buSzTx/>
                </a:pPr>
                <a:r>
                  <a:rPr lang="it-IT" altLang="en-US" sz="1600" b="1">
                    <a:solidFill>
                      <a:schemeClr val="bg1"/>
                    </a:solidFill>
                  </a:rPr>
                  <a:t>PERSONE ASSUNTE DALLE STARTUP DOPO L’ACCELERAZIONE</a:t>
                </a:r>
                <a:endParaRPr lang="en-GB" altLang="en-US" sz="16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34" name="Immagine 33">
              <a:extLst>
                <a:ext uri="{FF2B5EF4-FFF2-40B4-BE49-F238E27FC236}">
                  <a16:creationId xmlns:a16="http://schemas.microsoft.com/office/drawing/2014/main" id="{43D6F9A0-6B55-DF41-81B6-8675E57F8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3268853" y="2892159"/>
              <a:ext cx="738475" cy="738476"/>
            </a:xfrm>
            <a:prstGeom prst="rect">
              <a:avLst/>
            </a:prstGeom>
          </p:spPr>
        </p:pic>
      </p:grp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FD1A7244-CF76-0F44-85A0-F634F8A2B606}"/>
              </a:ext>
            </a:extLst>
          </p:cNvPr>
          <p:cNvGrpSpPr/>
          <p:nvPr/>
        </p:nvGrpSpPr>
        <p:grpSpPr>
          <a:xfrm>
            <a:off x="4570086" y="1650969"/>
            <a:ext cx="2000883" cy="1257493"/>
            <a:chOff x="583768" y="2372725"/>
            <a:chExt cx="1961051" cy="1232460"/>
          </a:xfrm>
        </p:grpSpPr>
        <p:grpSp>
          <p:nvGrpSpPr>
            <p:cNvPr id="39" name="Gruppo 38">
              <a:extLst>
                <a:ext uri="{FF2B5EF4-FFF2-40B4-BE49-F238E27FC236}">
                  <a16:creationId xmlns:a16="http://schemas.microsoft.com/office/drawing/2014/main" id="{8F4AD00C-797C-5146-8996-B7603F62FBE6}"/>
                </a:ext>
              </a:extLst>
            </p:cNvPr>
            <p:cNvGrpSpPr/>
            <p:nvPr/>
          </p:nvGrpSpPr>
          <p:grpSpPr>
            <a:xfrm>
              <a:off x="612048" y="2372725"/>
              <a:ext cx="1932771" cy="1100764"/>
              <a:chOff x="612048" y="2307447"/>
              <a:chExt cx="1932771" cy="1100764"/>
            </a:xfrm>
          </p:grpSpPr>
          <p:sp>
            <p:nvSpPr>
              <p:cNvPr id="41" name="TextBox 66">
                <a:extLst>
                  <a:ext uri="{FF2B5EF4-FFF2-40B4-BE49-F238E27FC236}">
                    <a16:creationId xmlns:a16="http://schemas.microsoft.com/office/drawing/2014/main" id="{F0ABCEDB-652D-3D47-B5DE-496BF779A5AF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12048" y="2307447"/>
                <a:ext cx="1514532" cy="603299"/>
              </a:xfrm>
              <a:prstGeom prst="rect">
                <a:avLst/>
              </a:prstGeom>
            </p:spPr>
            <p:txBody>
              <a:bodyPr vert="horz" wrap="none" lIns="0" tIns="0" rIns="0" bIns="0" rtlCol="0" anchor="b" anchorCtr="0">
                <a:spAutoFit/>
              </a:bodyPr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0" defTabSz="1218095" fontAlgn="base">
                  <a:spcBef>
                    <a:spcPts val="612"/>
                  </a:spcBef>
                  <a:spcAft>
                    <a:spcPct val="0"/>
                  </a:spcAft>
                  <a:buClr>
                    <a:srgbClr val="003A79"/>
                  </a:buClr>
                  <a:buSzTx/>
                </a:pPr>
                <a:r>
                  <a:rPr lang="it-IT" sz="4000" b="1">
                    <a:solidFill>
                      <a:srgbClr val="FFFFFF"/>
                    </a:solidFill>
                  </a:rPr>
                  <a:t>66,5</a:t>
                </a:r>
                <a:r>
                  <a:rPr lang="it-IT" b="1">
                    <a:solidFill>
                      <a:srgbClr val="FFFFFF"/>
                    </a:solidFill>
                  </a:rPr>
                  <a:t>mln$</a:t>
                </a:r>
                <a:endParaRPr lang="it-IT" sz="4897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TextBox 67">
                <a:extLst>
                  <a:ext uri="{FF2B5EF4-FFF2-40B4-BE49-F238E27FC236}">
                    <a16:creationId xmlns:a16="http://schemas.microsoft.com/office/drawing/2014/main" id="{1F49E558-524D-9F45-AD9D-960FB424DE0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376741" y="2915894"/>
                <a:ext cx="1168078" cy="492317"/>
              </a:xfrm>
              <a:prstGeom prst="rect">
                <a:avLst/>
              </a:prstGeom>
            </p:spPr>
            <p:txBody>
              <a:bodyPr vert="horz" wrap="square" lIns="0" tIns="0" rIns="0" bIns="0" rtlCol="0" anchor="b">
                <a:spAutoFit/>
              </a:bodyPr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1pPr>
                <a:lvl2pPr marL="258246" lvl="1" indent="-25613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Century Gothic" panose="020B0502020202020204" pitchFamily="34" charset="0"/>
                    <a:sym typeface="Century Gothic" panose="020B0502020202020204" pitchFamily="34" charset="0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1218095" fontAlgn="base">
                  <a:spcBef>
                    <a:spcPts val="612"/>
                  </a:spcBef>
                  <a:spcAft>
                    <a:spcPct val="0"/>
                  </a:spcAft>
                  <a:buClr>
                    <a:srgbClr val="003A79"/>
                  </a:buClr>
                </a:pPr>
                <a:r>
                  <a:rPr lang="it-IT" sz="1600" b="1">
                    <a:solidFill>
                      <a:schemeClr val="bg1"/>
                    </a:solidFill>
                  </a:rPr>
                  <a:t>CAPITALE RACCOLTO</a:t>
                </a:r>
              </a:p>
            </p:txBody>
          </p:sp>
        </p:grpSp>
        <p:pic>
          <p:nvPicPr>
            <p:cNvPr id="40" name="Immagine 39">
              <a:extLst>
                <a:ext uri="{FF2B5EF4-FFF2-40B4-BE49-F238E27FC236}">
                  <a16:creationId xmlns:a16="http://schemas.microsoft.com/office/drawing/2014/main" id="{48B4EA71-32B6-9A44-8856-1A612A9079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583768" y="2862899"/>
              <a:ext cx="742286" cy="742286"/>
            </a:xfrm>
            <a:prstGeom prst="rect">
              <a:avLst/>
            </a:prstGeom>
          </p:spPr>
        </p:pic>
      </p:grpSp>
      <p:grpSp>
        <p:nvGrpSpPr>
          <p:cNvPr id="43" name="Gruppo 42">
            <a:extLst>
              <a:ext uri="{FF2B5EF4-FFF2-40B4-BE49-F238E27FC236}">
                <a16:creationId xmlns:a16="http://schemas.microsoft.com/office/drawing/2014/main" id="{072C6D8D-73BF-5A45-B570-BFD39C26A603}"/>
              </a:ext>
            </a:extLst>
          </p:cNvPr>
          <p:cNvGrpSpPr/>
          <p:nvPr/>
        </p:nvGrpSpPr>
        <p:grpSpPr>
          <a:xfrm>
            <a:off x="4488069" y="4150519"/>
            <a:ext cx="3095403" cy="1380617"/>
            <a:chOff x="9184566" y="2272222"/>
            <a:chExt cx="3033782" cy="1353130"/>
          </a:xfrm>
        </p:grpSpPr>
        <p:grpSp>
          <p:nvGrpSpPr>
            <p:cNvPr id="45" name="Gruppo 44">
              <a:extLst>
                <a:ext uri="{FF2B5EF4-FFF2-40B4-BE49-F238E27FC236}">
                  <a16:creationId xmlns:a16="http://schemas.microsoft.com/office/drawing/2014/main" id="{2FC5B9C6-00A7-E84A-AD69-D204FF68708D}"/>
                </a:ext>
              </a:extLst>
            </p:cNvPr>
            <p:cNvGrpSpPr/>
            <p:nvPr/>
          </p:nvGrpSpPr>
          <p:grpSpPr>
            <a:xfrm>
              <a:off x="9184566" y="2272222"/>
              <a:ext cx="3033782" cy="1257241"/>
              <a:chOff x="9264137" y="2197819"/>
              <a:chExt cx="3033782" cy="1257241"/>
            </a:xfrm>
          </p:grpSpPr>
          <p:sp>
            <p:nvSpPr>
              <p:cNvPr id="48" name="CasellaDiTesto 91">
                <a:extLst>
                  <a:ext uri="{FF2B5EF4-FFF2-40B4-BE49-F238E27FC236}">
                    <a16:creationId xmlns:a16="http://schemas.microsoft.com/office/drawing/2014/main" id="{66ADDA20-83D5-3A4A-BE25-CE3E1091D5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264137" y="2197819"/>
                <a:ext cx="1715684" cy="6937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4800" b="1">
                    <a:solidFill>
                      <a:schemeClr val="bg1"/>
                    </a:solidFill>
                    <a:latin typeface="Century Gothic" panose="020B0502020202020204" pitchFamily="34" charset="0"/>
                  </a:defRPr>
                </a:lvl1pPr>
                <a:lvl2pPr marL="742950" indent="-285750"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it-IT" altLang="en-US" sz="4000">
                    <a:solidFill>
                      <a:srgbClr val="FFFFFF"/>
                    </a:solidFill>
                    <a:sym typeface="Century Gothic" panose="020B0502020202020204" pitchFamily="34" charset="0"/>
                  </a:rPr>
                  <a:t>115+</a:t>
                </a:r>
                <a:endParaRPr lang="en-GB" altLang="en-US" sz="40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Rettangolo 48">
                <a:extLst>
                  <a:ext uri="{FF2B5EF4-FFF2-40B4-BE49-F238E27FC236}">
                    <a16:creationId xmlns:a16="http://schemas.microsoft.com/office/drawing/2014/main" id="{3D3E5348-9F8C-A141-A0CB-21E5830C8CD0}"/>
                  </a:ext>
                </a:extLst>
              </p:cNvPr>
              <p:cNvSpPr/>
              <p:nvPr/>
            </p:nvSpPr>
            <p:spPr>
              <a:xfrm>
                <a:off x="10001260" y="2860410"/>
                <a:ext cx="2296659" cy="5946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32962" fontAlgn="base">
                  <a:spcBef>
                    <a:spcPts val="612"/>
                  </a:spcBef>
                  <a:spcAft>
                    <a:spcPct val="0"/>
                  </a:spcAft>
                  <a:buClr>
                    <a:srgbClr val="003A79"/>
                  </a:buClr>
                  <a:buSzTx/>
                </a:pPr>
                <a:r>
                  <a:rPr lang="it-IT" altLang="en-US" sz="1600" b="1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SPERIMENTAZIONI</a:t>
                </a:r>
                <a:br>
                  <a:rPr lang="it-IT" altLang="en-US" sz="1600" b="1">
                    <a:solidFill>
                      <a:schemeClr val="bg1"/>
                    </a:solidFill>
                    <a:latin typeface="Century Gothic" panose="020B0502020202020204" pitchFamily="34" charset="0"/>
                  </a:rPr>
                </a:br>
                <a:r>
                  <a:rPr lang="it-IT" altLang="en-US" sz="1600" b="1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SUL TERRITORIO</a:t>
                </a:r>
                <a:endParaRPr lang="en-GB" altLang="en-US" sz="1600" b="1">
                  <a:solidFill>
                    <a:schemeClr val="bg1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7" name="Immagine 46">
              <a:extLst>
                <a:ext uri="{FF2B5EF4-FFF2-40B4-BE49-F238E27FC236}">
                  <a16:creationId xmlns:a16="http://schemas.microsoft.com/office/drawing/2014/main" id="{97AED854-7259-BB47-8CED-96C6DE4DC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9264950" y="2872241"/>
              <a:ext cx="753111" cy="753111"/>
            </a:xfrm>
            <a:prstGeom prst="rect">
              <a:avLst/>
            </a:prstGeom>
          </p:spPr>
        </p:pic>
      </p:grpSp>
      <p:grpSp>
        <p:nvGrpSpPr>
          <p:cNvPr id="55" name="Gruppo 54">
            <a:extLst>
              <a:ext uri="{FF2B5EF4-FFF2-40B4-BE49-F238E27FC236}">
                <a16:creationId xmlns:a16="http://schemas.microsoft.com/office/drawing/2014/main" id="{960D4F63-8112-494F-8B01-9C51388C8AA4}"/>
              </a:ext>
            </a:extLst>
          </p:cNvPr>
          <p:cNvGrpSpPr/>
          <p:nvPr/>
        </p:nvGrpSpPr>
        <p:grpSpPr>
          <a:xfrm>
            <a:off x="8542591" y="1592277"/>
            <a:ext cx="3368071" cy="1295666"/>
            <a:chOff x="6209134" y="2312381"/>
            <a:chExt cx="3301021" cy="1269869"/>
          </a:xfrm>
        </p:grpSpPr>
        <p:grpSp>
          <p:nvGrpSpPr>
            <p:cNvPr id="56" name="Gruppo 55">
              <a:extLst>
                <a:ext uri="{FF2B5EF4-FFF2-40B4-BE49-F238E27FC236}">
                  <a16:creationId xmlns:a16="http://schemas.microsoft.com/office/drawing/2014/main" id="{6D3C267E-D7AD-B645-AB68-C64A289764E2}"/>
                </a:ext>
              </a:extLst>
            </p:cNvPr>
            <p:cNvGrpSpPr/>
            <p:nvPr/>
          </p:nvGrpSpPr>
          <p:grpSpPr>
            <a:xfrm>
              <a:off x="6248697" y="2312381"/>
              <a:ext cx="3261458" cy="1209370"/>
              <a:chOff x="6041545" y="2273607"/>
              <a:chExt cx="3261458" cy="1209370"/>
            </a:xfrm>
          </p:grpSpPr>
          <p:sp>
            <p:nvSpPr>
              <p:cNvPr id="58" name="CasellaDiTesto 91">
                <a:extLst>
                  <a:ext uri="{FF2B5EF4-FFF2-40B4-BE49-F238E27FC236}">
                    <a16:creationId xmlns:a16="http://schemas.microsoft.com/office/drawing/2014/main" id="{7A3097D3-2A35-804A-8BDC-3E200E1158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41545" y="2273607"/>
                <a:ext cx="1240226" cy="6937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defTabSz="932962">
                  <a:spcBef>
                    <a:spcPct val="0"/>
                  </a:spcBef>
                  <a:spcAft>
                    <a:spcPct val="0"/>
                  </a:spcAft>
                </a:pPr>
                <a:r>
                  <a:rPr lang="it-IT" sz="4000" b="1">
                    <a:solidFill>
                      <a:srgbClr val="FFFFFF"/>
                    </a:solidFill>
                    <a:latin typeface="Century Gothic" panose="020B0502020202020204" pitchFamily="34" charset="0"/>
                    <a:ea typeface="+mn-ea"/>
                    <a:sym typeface="Century Gothic" panose="020B0502020202020204" pitchFamily="34" charset="0"/>
                  </a:rPr>
                  <a:t>49</a:t>
                </a:r>
              </a:p>
            </p:txBody>
          </p:sp>
          <p:sp>
            <p:nvSpPr>
              <p:cNvPr id="59" name="Rettangolo 58">
                <a:extLst>
                  <a:ext uri="{FF2B5EF4-FFF2-40B4-BE49-F238E27FC236}">
                    <a16:creationId xmlns:a16="http://schemas.microsoft.com/office/drawing/2014/main" id="{B93EC203-F48F-034B-B447-8CDED9508628}"/>
                  </a:ext>
                </a:extLst>
              </p:cNvPr>
              <p:cNvSpPr/>
              <p:nvPr/>
            </p:nvSpPr>
            <p:spPr>
              <a:xfrm>
                <a:off x="6640283" y="2909843"/>
                <a:ext cx="2662720" cy="573134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it-IT" altLang="en-US" sz="1600" b="1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STARTUP </a:t>
                </a:r>
                <a:r>
                  <a:rPr lang="it-IT" altLang="en-US" sz="1600" b="1">
                    <a:solidFill>
                      <a:srgbClr val="FFFFFF"/>
                    </a:solidFill>
                    <a:latin typeface="Century Gothic"/>
                  </a:rPr>
                  <a:t>ACCELERATE</a:t>
                </a:r>
              </a:p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it-IT" altLang="en-US" sz="1600" b="1">
                    <a:solidFill>
                      <a:srgbClr val="FFFFFF"/>
                    </a:solidFill>
                    <a:latin typeface="Century Gothic"/>
                  </a:rPr>
                  <a:t>DA 8 PAESI25 ITALIANE</a:t>
                </a:r>
                <a:endParaRPr lang="it-IT" altLang="en-US" sz="1600" b="1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57" name="Immagine 56">
              <a:extLst>
                <a:ext uri="{FF2B5EF4-FFF2-40B4-BE49-F238E27FC236}">
                  <a16:creationId xmlns:a16="http://schemas.microsoft.com/office/drawing/2014/main" id="{E6C6FA84-C967-4A49-943A-69E9FC4277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09134" y="2934813"/>
              <a:ext cx="649624" cy="647437"/>
            </a:xfrm>
            <a:prstGeom prst="rect">
              <a:avLst/>
            </a:prstGeom>
          </p:spPr>
        </p:pic>
      </p:grp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1A621646-F401-45C2-9EFE-4AAC823EFDA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33479" y="4729600"/>
            <a:ext cx="768408" cy="768408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BE339F-E15C-5DB1-1737-6F8008F1E0BF}"/>
              </a:ext>
            </a:extLst>
          </p:cNvPr>
          <p:cNvSpPr txBox="1"/>
          <p:nvPr/>
        </p:nvSpPr>
        <p:spPr>
          <a:xfrm>
            <a:off x="477383" y="1715669"/>
            <a:ext cx="33326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STORIE DI SUCCESSO </a:t>
            </a:r>
          </a:p>
          <a:p>
            <a:r>
              <a:rPr lang="it-IT" sz="2000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DELLE CLASSI </a:t>
            </a:r>
          </a:p>
          <a:p>
            <a:r>
              <a:rPr lang="it-IT" sz="2000" b="1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2020-2022</a:t>
            </a:r>
          </a:p>
        </p:txBody>
      </p:sp>
      <p:cxnSp>
        <p:nvCxnSpPr>
          <p:cNvPr id="17" name="Connettore 1 34">
            <a:extLst>
              <a:ext uri="{FF2B5EF4-FFF2-40B4-BE49-F238E27FC236}">
                <a16:creationId xmlns:a16="http://schemas.microsoft.com/office/drawing/2014/main" id="{787D86D9-FCC0-7730-436F-838DA516CF7E}"/>
              </a:ext>
            </a:extLst>
          </p:cNvPr>
          <p:cNvCxnSpPr>
            <a:cxnSpLocks/>
          </p:cNvCxnSpPr>
          <p:nvPr/>
        </p:nvCxnSpPr>
        <p:spPr>
          <a:xfrm>
            <a:off x="531284" y="3582881"/>
            <a:ext cx="114227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9429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81AE4098-838B-4FF2-9C4E-0E0572375E8D}"/>
              </a:ext>
            </a:extLst>
          </p:cNvPr>
          <p:cNvSpPr/>
          <p:nvPr/>
        </p:nvSpPr>
        <p:spPr>
          <a:xfrm>
            <a:off x="492806" y="1360450"/>
            <a:ext cx="11065208" cy="110339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>
              <a:lnSpc>
                <a:spcPct val="120000"/>
              </a:lnSpc>
            </a:pPr>
            <a:r>
              <a:rPr lang="it-IT" sz="1400" b="1">
                <a:latin typeface="Century Gothic"/>
                <a:sym typeface="+mn-lt"/>
              </a:rPr>
              <a:t>Il </a:t>
            </a:r>
            <a:r>
              <a:rPr lang="it-IT" sz="1400" b="1" err="1">
                <a:latin typeface="Century Gothic"/>
                <a:sym typeface="+mn-lt"/>
              </a:rPr>
              <a:t>Frontier</a:t>
            </a:r>
            <a:r>
              <a:rPr lang="it-IT" sz="1400" b="1">
                <a:latin typeface="Century Gothic"/>
                <a:sym typeface="+mn-lt"/>
              </a:rPr>
              <a:t> </a:t>
            </a:r>
            <a:r>
              <a:rPr lang="it-IT" sz="1400" b="1" err="1">
                <a:latin typeface="Century Gothic"/>
                <a:sym typeface="+mn-lt"/>
              </a:rPr>
              <a:t>Research</a:t>
            </a:r>
            <a:r>
              <a:rPr lang="it-IT" sz="1400" b="1">
                <a:latin typeface="Century Gothic"/>
                <a:sym typeface="+mn-lt"/>
              </a:rPr>
              <a:t> </a:t>
            </a:r>
            <a:r>
              <a:rPr lang="it-IT" sz="1400">
                <a:latin typeface="Century Gothic"/>
                <a:sym typeface="+mn-lt"/>
              </a:rPr>
              <a:t>guarda ai </a:t>
            </a:r>
            <a:r>
              <a:rPr lang="it-IT" sz="1400" b="1">
                <a:latin typeface="Century Gothic"/>
                <a:sym typeface="+mn-lt"/>
              </a:rPr>
              <a:t>trend del futuro </a:t>
            </a:r>
            <a:r>
              <a:rPr lang="it-IT" sz="1400">
                <a:latin typeface="Century Gothic"/>
                <a:sym typeface="+mn-lt"/>
              </a:rPr>
              <a:t>e ai cambiamenti tecnologici e di business e contribuisce fattivamente alla attività di venture building della società. Coerentemente con l’analisi di tali tendenze sviluppa iniziative di</a:t>
            </a:r>
            <a:r>
              <a:rPr lang="it-IT" sz="1400" b="1">
                <a:latin typeface="Century Gothic"/>
                <a:sym typeface="+mn-lt"/>
              </a:rPr>
              <a:t> ricerca applicata</a:t>
            </a:r>
            <a:r>
              <a:rPr lang="it-IT" sz="1400">
                <a:latin typeface="Century Gothic"/>
                <a:sym typeface="+mn-lt"/>
              </a:rPr>
              <a:t> che da una parte favoriscano la </a:t>
            </a:r>
            <a:r>
              <a:rPr lang="it-IT" sz="1400" b="1">
                <a:latin typeface="Century Gothic"/>
                <a:sym typeface="+mn-lt"/>
              </a:rPr>
              <a:t>multidisciplinarietà </a:t>
            </a:r>
            <a:r>
              <a:rPr lang="it-IT" sz="1400">
                <a:latin typeface="Century Gothic"/>
                <a:sym typeface="+mn-lt"/>
              </a:rPr>
              <a:t>e dall’altra generino </a:t>
            </a:r>
            <a:r>
              <a:rPr lang="it-IT" sz="1400" b="1">
                <a:latin typeface="Century Gothic"/>
                <a:sym typeface="+mn-lt"/>
              </a:rPr>
              <a:t>nuove expertise</a:t>
            </a:r>
            <a:r>
              <a:rPr lang="it-IT" sz="1400">
                <a:latin typeface="Century Gothic"/>
                <a:sym typeface="+mn-lt"/>
              </a:rPr>
              <a:t>, sfruttando e arricchendo competenze e metodologie già presenti.</a:t>
            </a:r>
          </a:p>
        </p:txBody>
      </p:sp>
      <p:sp>
        <p:nvSpPr>
          <p:cNvPr id="8" name="Titolo 7">
            <a:extLst>
              <a:ext uri="{FF2B5EF4-FFF2-40B4-BE49-F238E27FC236}">
                <a16:creationId xmlns:a16="http://schemas.microsoft.com/office/drawing/2014/main" id="{08A47B11-81DD-44FE-AB7F-28A511F732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err="1"/>
              <a:t>Frontier</a:t>
            </a:r>
            <a:r>
              <a:rPr lang="it-IT"/>
              <a:t> </a:t>
            </a:r>
            <a:r>
              <a:rPr lang="it-IT" err="1"/>
              <a:t>Research</a:t>
            </a:r>
            <a:br>
              <a:rPr lang="it-IT"/>
            </a:br>
            <a:endParaRPr lang="it-IT"/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8A7BE90B-F868-435F-8883-625E685C972E}"/>
              </a:ext>
            </a:extLst>
          </p:cNvPr>
          <p:cNvSpPr txBox="1"/>
          <p:nvPr/>
        </p:nvSpPr>
        <p:spPr>
          <a:xfrm>
            <a:off x="490546" y="943599"/>
            <a:ext cx="1456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Mission</a:t>
            </a:r>
          </a:p>
        </p:txBody>
      </p: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B2207DB4-512F-480A-9038-48AC8153F78B}"/>
              </a:ext>
            </a:extLst>
          </p:cNvPr>
          <p:cNvGrpSpPr/>
          <p:nvPr/>
        </p:nvGrpSpPr>
        <p:grpSpPr>
          <a:xfrm>
            <a:off x="750933" y="3367175"/>
            <a:ext cx="3373993" cy="1776163"/>
            <a:chOff x="403666" y="4348750"/>
            <a:chExt cx="3250451" cy="1728237"/>
          </a:xfrm>
        </p:grpSpPr>
        <p:sp>
          <p:nvSpPr>
            <p:cNvPr id="32" name="Esagono 31">
              <a:extLst>
                <a:ext uri="{FF2B5EF4-FFF2-40B4-BE49-F238E27FC236}">
                  <a16:creationId xmlns:a16="http://schemas.microsoft.com/office/drawing/2014/main" id="{0D3282AA-073F-48D4-AEC6-6C4AC5666880}"/>
                </a:ext>
              </a:extLst>
            </p:cNvPr>
            <p:cNvSpPr/>
            <p:nvPr/>
          </p:nvSpPr>
          <p:spPr>
            <a:xfrm>
              <a:off x="1237569" y="5295062"/>
              <a:ext cx="893804" cy="770520"/>
            </a:xfrm>
            <a:prstGeom prst="hexagon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33" name="Esagono 32">
              <a:extLst>
                <a:ext uri="{FF2B5EF4-FFF2-40B4-BE49-F238E27FC236}">
                  <a16:creationId xmlns:a16="http://schemas.microsoft.com/office/drawing/2014/main" id="{D284B821-A073-441D-B139-C6022AA49082}"/>
                </a:ext>
              </a:extLst>
            </p:cNvPr>
            <p:cNvSpPr/>
            <p:nvPr/>
          </p:nvSpPr>
          <p:spPr>
            <a:xfrm>
              <a:off x="1985071" y="4882611"/>
              <a:ext cx="893804" cy="770520"/>
            </a:xfrm>
            <a:prstGeom prst="hexagon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34" name="Esagono 33">
              <a:extLst>
                <a:ext uri="{FF2B5EF4-FFF2-40B4-BE49-F238E27FC236}">
                  <a16:creationId xmlns:a16="http://schemas.microsoft.com/office/drawing/2014/main" id="{D9D76AFE-F199-4891-8FCB-E77D87487A4A}"/>
                </a:ext>
              </a:extLst>
            </p:cNvPr>
            <p:cNvSpPr/>
            <p:nvPr/>
          </p:nvSpPr>
          <p:spPr>
            <a:xfrm>
              <a:off x="502188" y="4886060"/>
              <a:ext cx="893804" cy="770520"/>
            </a:xfrm>
            <a:prstGeom prst="hexagon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35" name="Esagono 34">
              <a:extLst>
                <a:ext uri="{FF2B5EF4-FFF2-40B4-BE49-F238E27FC236}">
                  <a16:creationId xmlns:a16="http://schemas.microsoft.com/office/drawing/2014/main" id="{53DE2EC6-4D4F-4974-99F0-DC7CBD2160CA}"/>
                </a:ext>
              </a:extLst>
            </p:cNvPr>
            <p:cNvSpPr/>
            <p:nvPr/>
          </p:nvSpPr>
          <p:spPr>
            <a:xfrm>
              <a:off x="1238220" y="4480838"/>
              <a:ext cx="893804" cy="770520"/>
            </a:xfrm>
            <a:prstGeom prst="hexagon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2D7D29BA-64C7-4B45-BA14-9EB123C86451}"/>
                </a:ext>
              </a:extLst>
            </p:cNvPr>
            <p:cNvSpPr/>
            <p:nvPr/>
          </p:nvSpPr>
          <p:spPr>
            <a:xfrm>
              <a:off x="1213103" y="4679280"/>
              <a:ext cx="851274" cy="3434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DATA INTENSIVE</a:t>
              </a:r>
            </a:p>
          </p:txBody>
        </p:sp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5E8E20F0-4572-4318-B5C2-FBC73AD2089E}"/>
                </a:ext>
              </a:extLst>
            </p:cNvPr>
            <p:cNvSpPr/>
            <p:nvPr/>
          </p:nvSpPr>
          <p:spPr>
            <a:xfrm>
              <a:off x="475494" y="5130963"/>
              <a:ext cx="851274" cy="2178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endParaRPr lang="it-IT" sz="816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8" name="Rettangolo 37">
              <a:extLst>
                <a:ext uri="{FF2B5EF4-FFF2-40B4-BE49-F238E27FC236}">
                  <a16:creationId xmlns:a16="http://schemas.microsoft.com/office/drawing/2014/main" id="{71E673E7-3BB7-4C14-BA2F-6DA8DD61AC76}"/>
                </a:ext>
              </a:extLst>
            </p:cNvPr>
            <p:cNvSpPr/>
            <p:nvPr/>
          </p:nvSpPr>
          <p:spPr>
            <a:xfrm>
              <a:off x="1138904" y="5566070"/>
              <a:ext cx="1030848" cy="33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NEUROSCIENCE</a:t>
              </a:r>
            </a:p>
            <a:p>
              <a:pPr marL="92325" algn="ctr"/>
              <a:endParaRPr lang="it-IT" sz="816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Rettangolo 38">
              <a:extLst>
                <a:ext uri="{FF2B5EF4-FFF2-40B4-BE49-F238E27FC236}">
                  <a16:creationId xmlns:a16="http://schemas.microsoft.com/office/drawing/2014/main" id="{583555D3-0805-4BE1-9A18-6FEC2DB74DC9}"/>
                </a:ext>
              </a:extLst>
            </p:cNvPr>
            <p:cNvSpPr/>
            <p:nvPr/>
          </p:nvSpPr>
          <p:spPr>
            <a:xfrm>
              <a:off x="1882579" y="5149517"/>
              <a:ext cx="1030848" cy="3434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OBOTICS</a:t>
              </a:r>
            </a:p>
            <a:p>
              <a:pPr marL="92325" algn="ctr"/>
              <a:endParaRPr lang="it-IT" sz="816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0" name="Rettangolo 39">
              <a:extLst>
                <a:ext uri="{FF2B5EF4-FFF2-40B4-BE49-F238E27FC236}">
                  <a16:creationId xmlns:a16="http://schemas.microsoft.com/office/drawing/2014/main" id="{AFB9F337-167D-453E-99C5-CBA45080F829}"/>
                </a:ext>
              </a:extLst>
            </p:cNvPr>
            <p:cNvSpPr/>
            <p:nvPr/>
          </p:nvSpPr>
          <p:spPr>
            <a:xfrm>
              <a:off x="403666" y="5096727"/>
              <a:ext cx="1030848" cy="3434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TREND ANALYSIS</a:t>
              </a:r>
            </a:p>
          </p:txBody>
        </p:sp>
        <p:sp>
          <p:nvSpPr>
            <p:cNvPr id="41" name="Rettangolo 40">
              <a:extLst>
                <a:ext uri="{FF2B5EF4-FFF2-40B4-BE49-F238E27FC236}">
                  <a16:creationId xmlns:a16="http://schemas.microsoft.com/office/drawing/2014/main" id="{76F8C3DE-1C32-4A4E-AC1D-1CB929D817A4}"/>
                </a:ext>
              </a:extLst>
            </p:cNvPr>
            <p:cNvSpPr/>
            <p:nvPr/>
          </p:nvSpPr>
          <p:spPr>
            <a:xfrm>
              <a:off x="1953729" y="4348750"/>
              <a:ext cx="851274" cy="2178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endParaRPr lang="it-IT" sz="816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2" name="Esagono 41">
              <a:extLst>
                <a:ext uri="{FF2B5EF4-FFF2-40B4-BE49-F238E27FC236}">
                  <a16:creationId xmlns:a16="http://schemas.microsoft.com/office/drawing/2014/main" id="{0C50BD82-9598-4A30-BB4B-6F7C230E74B3}"/>
                </a:ext>
              </a:extLst>
            </p:cNvPr>
            <p:cNvSpPr/>
            <p:nvPr/>
          </p:nvSpPr>
          <p:spPr>
            <a:xfrm>
              <a:off x="2731939" y="4493704"/>
              <a:ext cx="893804" cy="770520"/>
            </a:xfrm>
            <a:prstGeom prst="hexagon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2B6567F6-F226-4075-A928-3BA4B8465E5F}"/>
                </a:ext>
              </a:extLst>
            </p:cNvPr>
            <p:cNvSpPr/>
            <p:nvPr/>
          </p:nvSpPr>
          <p:spPr>
            <a:xfrm>
              <a:off x="2623270" y="4688377"/>
              <a:ext cx="1030847" cy="4689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ESOURCES &amp; CLIMATE  CHANGE</a:t>
              </a:r>
            </a:p>
          </p:txBody>
        </p:sp>
        <p:sp>
          <p:nvSpPr>
            <p:cNvPr id="44" name="Esagono 43">
              <a:extLst>
                <a:ext uri="{FF2B5EF4-FFF2-40B4-BE49-F238E27FC236}">
                  <a16:creationId xmlns:a16="http://schemas.microsoft.com/office/drawing/2014/main" id="{B72E06DF-A2AA-4B2B-826E-CDE20BAC7A05}"/>
                </a:ext>
              </a:extLst>
            </p:cNvPr>
            <p:cNvSpPr/>
            <p:nvPr/>
          </p:nvSpPr>
          <p:spPr>
            <a:xfrm>
              <a:off x="2714822" y="5306467"/>
              <a:ext cx="893804" cy="770520"/>
            </a:xfrm>
            <a:prstGeom prst="hexagon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37"/>
            </a:p>
          </p:txBody>
        </p:sp>
        <p:sp>
          <p:nvSpPr>
            <p:cNvPr id="45" name="Rettangolo 44">
              <a:extLst>
                <a:ext uri="{FF2B5EF4-FFF2-40B4-BE49-F238E27FC236}">
                  <a16:creationId xmlns:a16="http://schemas.microsoft.com/office/drawing/2014/main" id="{BF2FB101-927D-45C1-A450-FB2F39696CF8}"/>
                </a:ext>
              </a:extLst>
            </p:cNvPr>
            <p:cNvSpPr/>
            <p:nvPr/>
          </p:nvSpPr>
          <p:spPr>
            <a:xfrm>
              <a:off x="2597514" y="5563280"/>
              <a:ext cx="1030847" cy="2444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2325" algn="ctr"/>
              <a:r>
                <a:rPr lang="it-IT" sz="816" b="1">
                  <a:solidFill>
                    <a:schemeClr val="bg1"/>
                  </a:solidFill>
                  <a:latin typeface="Century Gothic" panose="020B0502020202020204" pitchFamily="34" charset="0"/>
                </a:rPr>
                <a:t>…</a:t>
              </a:r>
            </a:p>
          </p:txBody>
        </p:sp>
      </p:grp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F4E84BA1-D61C-4CC1-83FC-714C1087F25B}"/>
              </a:ext>
            </a:extLst>
          </p:cNvPr>
          <p:cNvSpPr txBox="1"/>
          <p:nvPr/>
        </p:nvSpPr>
        <p:spPr>
          <a:xfrm>
            <a:off x="492806" y="5466780"/>
            <a:ext cx="386425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Century Gothic" panose="020B0502020202020204" pitchFamily="34" charset="0"/>
              </a:rPr>
              <a:t>Alla base del </a:t>
            </a:r>
            <a:r>
              <a:rPr lang="it-IT" sz="1400" err="1">
                <a:latin typeface="Century Gothic" panose="020B0502020202020204" pitchFamily="34" charset="0"/>
              </a:rPr>
              <a:t>Frontier</a:t>
            </a:r>
            <a:r>
              <a:rPr lang="it-IT" sz="1400">
                <a:latin typeface="Century Gothic" panose="020B0502020202020204" pitchFamily="34" charset="0"/>
              </a:rPr>
              <a:t> </a:t>
            </a:r>
            <a:r>
              <a:rPr lang="it-IT" sz="1400" err="1">
                <a:latin typeface="Century Gothic" panose="020B0502020202020204" pitchFamily="34" charset="0"/>
              </a:rPr>
              <a:t>Research</a:t>
            </a:r>
            <a:r>
              <a:rPr lang="it-IT" sz="1400">
                <a:latin typeface="Century Gothic" panose="020B0502020202020204" pitchFamily="34" charset="0"/>
              </a:rPr>
              <a:t> vengono combinate competenze che spaziano dal </a:t>
            </a:r>
            <a:r>
              <a:rPr lang="it-IT" sz="1400" b="1">
                <a:latin typeface="Century Gothic" panose="020B0502020202020204" pitchFamily="34" charset="0"/>
              </a:rPr>
              <a:t>Deep Tech </a:t>
            </a:r>
            <a:r>
              <a:rPr lang="it-IT" sz="1400">
                <a:latin typeface="Century Gothic" panose="020B0502020202020204" pitchFamily="34" charset="0"/>
              </a:rPr>
              <a:t>alla </a:t>
            </a:r>
            <a:r>
              <a:rPr lang="it-IT" sz="1400" b="1">
                <a:latin typeface="Century Gothic" panose="020B0502020202020204" pitchFamily="34" charset="0"/>
              </a:rPr>
              <a:t>Human Social Science.</a:t>
            </a: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A7A329F4-45EF-42F1-AA65-B4B27BB97903}"/>
              </a:ext>
            </a:extLst>
          </p:cNvPr>
          <p:cNvSpPr txBox="1"/>
          <p:nvPr/>
        </p:nvSpPr>
        <p:spPr>
          <a:xfrm>
            <a:off x="490546" y="2875895"/>
            <a:ext cx="38665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Quali competenze abbiamo</a:t>
            </a: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6B86AB1B-8849-4754-965D-0FCA39A5820F}"/>
              </a:ext>
            </a:extLst>
          </p:cNvPr>
          <p:cNvSpPr txBox="1"/>
          <p:nvPr/>
        </p:nvSpPr>
        <p:spPr>
          <a:xfrm>
            <a:off x="4903444" y="2880069"/>
            <a:ext cx="66063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Quali partner scientifici hanno collaborato e collaborano con noi</a:t>
            </a:r>
          </a:p>
        </p:txBody>
      </p:sp>
      <p:pic>
        <p:nvPicPr>
          <p:cNvPr id="66" name="Picture 6" descr="Materias - InnovationVillage">
            <a:extLst>
              <a:ext uri="{FF2B5EF4-FFF2-40B4-BE49-F238E27FC236}">
                <a16:creationId xmlns:a16="http://schemas.microsoft.com/office/drawing/2014/main" id="{608C43B8-BB2F-44B0-B0E6-60B935519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8731" y="3470329"/>
            <a:ext cx="1315824" cy="43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Scuola IMT Alti Studi Lucca">
            <a:extLst>
              <a:ext uri="{FF2B5EF4-FFF2-40B4-BE49-F238E27FC236}">
                <a16:creationId xmlns:a16="http://schemas.microsoft.com/office/drawing/2014/main" id="{B78DBA44-5646-4E57-9DE9-D297753CA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7422" y="4339704"/>
            <a:ext cx="1225002" cy="60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 descr="Fondazione LINKS - Ricerca e innovazione | Chi siamo">
            <a:extLst>
              <a:ext uri="{FF2B5EF4-FFF2-40B4-BE49-F238E27FC236}">
                <a16:creationId xmlns:a16="http://schemas.microsoft.com/office/drawing/2014/main" id="{B040A5B0-5159-4F66-8C14-67E123205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982" y="4360162"/>
            <a:ext cx="1135466" cy="56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Nomen Italia — Centai Institute, l'istituto di ricerca di Artificial  Intelligence | Specialisti del brand naming">
            <a:extLst>
              <a:ext uri="{FF2B5EF4-FFF2-40B4-BE49-F238E27FC236}">
                <a16:creationId xmlns:a16="http://schemas.microsoft.com/office/drawing/2014/main" id="{A8C61817-2315-47CC-B573-11A9A65A9C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3" t="5109" r="10293"/>
          <a:stretch/>
        </p:blipFill>
        <p:spPr bwMode="auto">
          <a:xfrm>
            <a:off x="10446779" y="4134064"/>
            <a:ext cx="855822" cy="101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7CAC7CC9-56BE-4178-9CE0-31AFA584F2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5224" y="5328759"/>
            <a:ext cx="1417650" cy="62307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31D0A38-A307-4F85-938A-322A0418C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62304" y="3481582"/>
            <a:ext cx="1505994" cy="410169"/>
          </a:xfrm>
          <a:prstGeom prst="rect">
            <a:avLst/>
          </a:prstGeom>
        </p:spPr>
      </p:pic>
      <p:pic>
        <p:nvPicPr>
          <p:cNvPr id="1028" name="Picture 4" descr="Identità visiva | Università di Catania">
            <a:extLst>
              <a:ext uri="{FF2B5EF4-FFF2-40B4-BE49-F238E27FC236}">
                <a16:creationId xmlns:a16="http://schemas.microsoft.com/office/drawing/2014/main" id="{11F1DFA6-A7D9-4105-855A-FEE0FFBF89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149" y="3433734"/>
            <a:ext cx="1419441" cy="505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o 1">
            <a:extLst>
              <a:ext uri="{FF2B5EF4-FFF2-40B4-BE49-F238E27FC236}">
                <a16:creationId xmlns:a16="http://schemas.microsoft.com/office/drawing/2014/main" id="{C1574C69-F6A0-4B19-BA3A-78B251613BB2}"/>
              </a:ext>
            </a:extLst>
          </p:cNvPr>
          <p:cNvGrpSpPr/>
          <p:nvPr/>
        </p:nvGrpSpPr>
        <p:grpSpPr>
          <a:xfrm>
            <a:off x="4913800" y="3313899"/>
            <a:ext cx="1557252" cy="745535"/>
            <a:chOff x="5026036" y="3259537"/>
            <a:chExt cx="1557252" cy="745535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63EE46FC-BF53-4DF7-A2DD-23D5A82558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b="35524"/>
            <a:stretch/>
          </p:blipFill>
          <p:spPr>
            <a:xfrm>
              <a:off x="5026036" y="3259537"/>
              <a:ext cx="770868" cy="745535"/>
            </a:xfrm>
            <a:prstGeom prst="rect">
              <a:avLst/>
            </a:prstGeom>
          </p:spPr>
        </p:pic>
        <p:pic>
          <p:nvPicPr>
            <p:cNvPr id="51" name="Immagine 50">
              <a:extLst>
                <a:ext uri="{FF2B5EF4-FFF2-40B4-BE49-F238E27FC236}">
                  <a16:creationId xmlns:a16="http://schemas.microsoft.com/office/drawing/2014/main" id="{1F6BC58B-99A6-4F6D-8BD7-49B470FB7B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62894"/>
            <a:stretch/>
          </p:blipFill>
          <p:spPr>
            <a:xfrm>
              <a:off x="5812420" y="3447288"/>
              <a:ext cx="770868" cy="429056"/>
            </a:xfrm>
            <a:prstGeom prst="rect">
              <a:avLst/>
            </a:prstGeom>
          </p:spPr>
        </p:pic>
      </p:grpSp>
      <p:pic>
        <p:nvPicPr>
          <p:cNvPr id="1026" name="Picture 2" descr="ccsiec | IEC">
            <a:extLst>
              <a:ext uri="{FF2B5EF4-FFF2-40B4-BE49-F238E27FC236}">
                <a16:creationId xmlns:a16="http://schemas.microsoft.com/office/drawing/2014/main" id="{BA4AD9D8-C9C3-4B65-A7F3-9724991C6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090" y="4358532"/>
            <a:ext cx="1903316" cy="570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5xmille2021 | Fondazione Santa Lucia">
            <a:extLst>
              <a:ext uri="{FF2B5EF4-FFF2-40B4-BE49-F238E27FC236}">
                <a16:creationId xmlns:a16="http://schemas.microsoft.com/office/drawing/2014/main" id="{B4BA164F-DAA4-44B3-A7E1-C568AE14AF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7761" r="12405" b="27576"/>
          <a:stretch/>
        </p:blipFill>
        <p:spPr bwMode="auto">
          <a:xfrm>
            <a:off x="6796182" y="5189766"/>
            <a:ext cx="1049367" cy="9010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</p:pic>
      <p:pic>
        <p:nvPicPr>
          <p:cNvPr id="6" name="Picture 2" descr="Logo IIT | GREAT Campus: Parco Scientifico e Tecnologico di Genova - Erzelli">
            <a:extLst>
              <a:ext uri="{FF2B5EF4-FFF2-40B4-BE49-F238E27FC236}">
                <a16:creationId xmlns:a16="http://schemas.microsoft.com/office/drawing/2014/main" id="{5F714669-4948-44A7-A101-8A05E100D7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2643" y="5343393"/>
            <a:ext cx="1389598" cy="593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Università Cattolica del Sacro Cuore">
            <a:extLst>
              <a:ext uri="{FF2B5EF4-FFF2-40B4-BE49-F238E27FC236}">
                <a16:creationId xmlns:a16="http://schemas.microsoft.com/office/drawing/2014/main" id="{A2388D57-9448-49BE-A93F-429B4553B0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080" y="5381183"/>
            <a:ext cx="1268249" cy="51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nettore 1 34">
            <a:extLst>
              <a:ext uri="{FF2B5EF4-FFF2-40B4-BE49-F238E27FC236}">
                <a16:creationId xmlns:a16="http://schemas.microsoft.com/office/drawing/2014/main" id="{F345E5DF-6671-58AC-CD7C-BD88DCB26962}"/>
              </a:ext>
            </a:extLst>
          </p:cNvPr>
          <p:cNvCxnSpPr>
            <a:cxnSpLocks/>
          </p:cNvCxnSpPr>
          <p:nvPr/>
        </p:nvCxnSpPr>
        <p:spPr>
          <a:xfrm>
            <a:off x="564526" y="2578818"/>
            <a:ext cx="11134712" cy="0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7">
            <a:extLst>
              <a:ext uri="{FF2B5EF4-FFF2-40B4-BE49-F238E27FC236}">
                <a16:creationId xmlns:a16="http://schemas.microsoft.com/office/drawing/2014/main" id="{13C52223-074A-5F10-6B89-277CF950F063}"/>
              </a:ext>
            </a:extLst>
          </p:cNvPr>
          <p:cNvCxnSpPr>
            <a:cxnSpLocks/>
          </p:cNvCxnSpPr>
          <p:nvPr/>
        </p:nvCxnSpPr>
        <p:spPr>
          <a:xfrm>
            <a:off x="4621610" y="2890549"/>
            <a:ext cx="0" cy="3494806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05998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7">
            <a:extLst>
              <a:ext uri="{FF2B5EF4-FFF2-40B4-BE49-F238E27FC236}">
                <a16:creationId xmlns:a16="http://schemas.microsoft.com/office/drawing/2014/main" id="{08A47B11-81DD-44FE-AB7F-28A511F732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1284" y="366713"/>
            <a:ext cx="10363200" cy="408237"/>
          </a:xfrm>
        </p:spPr>
        <p:txBody>
          <a:bodyPr/>
          <a:lstStyle/>
          <a:p>
            <a:r>
              <a:rPr lang="it-IT" err="1"/>
              <a:t>Frontier</a:t>
            </a:r>
            <a:r>
              <a:rPr lang="it-IT"/>
              <a:t> </a:t>
            </a:r>
            <a:r>
              <a:rPr lang="it-IT" err="1"/>
              <a:t>Research</a:t>
            </a:r>
            <a:br>
              <a:rPr lang="it-IT"/>
            </a:br>
            <a:endParaRPr lang="it-IT"/>
          </a:p>
        </p:txBody>
      </p:sp>
      <p:sp>
        <p:nvSpPr>
          <p:cNvPr id="144" name="CasellaDiTesto 143">
            <a:extLst>
              <a:ext uri="{FF2B5EF4-FFF2-40B4-BE49-F238E27FC236}">
                <a16:creationId xmlns:a16="http://schemas.microsoft.com/office/drawing/2014/main" id="{5100C6A2-D34B-4E86-88DF-E4D7D5BA98A4}"/>
              </a:ext>
            </a:extLst>
          </p:cNvPr>
          <p:cNvSpPr txBox="1"/>
          <p:nvPr/>
        </p:nvSpPr>
        <p:spPr>
          <a:xfrm>
            <a:off x="548050" y="1024172"/>
            <a:ext cx="6682913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Come affrontiamo il futuro</a:t>
            </a:r>
          </a:p>
        </p:txBody>
      </p:sp>
      <p:sp>
        <p:nvSpPr>
          <p:cNvPr id="226" name="Ovale 225">
            <a:extLst>
              <a:ext uri="{FF2B5EF4-FFF2-40B4-BE49-F238E27FC236}">
                <a16:creationId xmlns:a16="http://schemas.microsoft.com/office/drawing/2014/main" id="{12A69197-14BB-4B41-8156-035BE17CE7B1}"/>
              </a:ext>
            </a:extLst>
          </p:cNvPr>
          <p:cNvSpPr/>
          <p:nvPr/>
        </p:nvSpPr>
        <p:spPr>
          <a:xfrm rot="1737423">
            <a:off x="5709694" y="702874"/>
            <a:ext cx="4847134" cy="4867501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ArchDown">
              <a:avLst/>
            </a:prstTxWarp>
            <a:noAutofit/>
          </a:bodyPr>
          <a:lstStyle/>
          <a:p>
            <a:pPr algn="ctr"/>
            <a:r>
              <a:rPr lang="it-IT" sz="1300" b="1">
                <a:solidFill>
                  <a:schemeClr val="bg1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NOVATION INTELLIGENCE</a:t>
            </a:r>
            <a:endParaRPr lang="it-IT" sz="1300" b="1">
              <a:solidFill>
                <a:schemeClr val="bg1"/>
              </a:solidFill>
            </a:endParaRPr>
          </a:p>
        </p:txBody>
      </p:sp>
      <p:sp>
        <p:nvSpPr>
          <p:cNvPr id="225" name="Arco a tutto sesto 224">
            <a:extLst>
              <a:ext uri="{FF2B5EF4-FFF2-40B4-BE49-F238E27FC236}">
                <a16:creationId xmlns:a16="http://schemas.microsoft.com/office/drawing/2014/main" id="{576F7CDC-DA2C-4070-80AF-479F3E097FEB}"/>
              </a:ext>
            </a:extLst>
          </p:cNvPr>
          <p:cNvSpPr/>
          <p:nvPr/>
        </p:nvSpPr>
        <p:spPr>
          <a:xfrm rot="8779888">
            <a:off x="3033930" y="2166262"/>
            <a:ext cx="2968881" cy="2968881"/>
          </a:xfrm>
          <a:prstGeom prst="blockArc">
            <a:avLst>
              <a:gd name="adj1" fmla="val 17103731"/>
              <a:gd name="adj2" fmla="val 8661954"/>
              <a:gd name="adj3" fmla="val 68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252" name="TextBox 109">
            <a:extLst>
              <a:ext uri="{FF2B5EF4-FFF2-40B4-BE49-F238E27FC236}">
                <a16:creationId xmlns:a16="http://schemas.microsoft.com/office/drawing/2014/main" id="{60E74076-114F-41FF-90A5-A14F85F6CCCD}"/>
              </a:ext>
            </a:extLst>
          </p:cNvPr>
          <p:cNvSpPr txBox="1">
            <a:spLocks/>
          </p:cNvSpPr>
          <p:nvPr/>
        </p:nvSpPr>
        <p:spPr bwMode="gray">
          <a:xfrm>
            <a:off x="10184911" y="2221520"/>
            <a:ext cx="458459" cy="49244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3200" b="1">
                <a:solidFill>
                  <a:srgbClr val="406B9B"/>
                </a:solidFill>
                <a:latin typeface="Century Gothic"/>
              </a:rPr>
              <a:t>55</a:t>
            </a:r>
            <a:endParaRPr lang="it-IT" sz="3200" baseline="90000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253" name="TextBox 110">
            <a:extLst>
              <a:ext uri="{FF2B5EF4-FFF2-40B4-BE49-F238E27FC236}">
                <a16:creationId xmlns:a16="http://schemas.microsoft.com/office/drawing/2014/main" id="{EB0BB694-DA65-4C72-9224-F42B17E7A8CD}"/>
              </a:ext>
            </a:extLst>
          </p:cNvPr>
          <p:cNvSpPr txBox="1">
            <a:spLocks/>
          </p:cNvSpPr>
          <p:nvPr/>
        </p:nvSpPr>
        <p:spPr bwMode="gray">
          <a:xfrm>
            <a:off x="10958440" y="2211471"/>
            <a:ext cx="98080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Aft>
                <a:spcPct val="0"/>
              </a:spcAft>
              <a:buClr>
                <a:srgbClr val="003A79"/>
              </a:buClr>
            </a:pPr>
            <a:r>
              <a:rPr lang="it-IT" sz="1200">
                <a:solidFill>
                  <a:srgbClr val="000000"/>
                </a:solidFill>
              </a:rPr>
              <a:t>Progetti </a:t>
            </a:r>
          </a:p>
          <a:p>
            <a:pPr defTabSz="1218095" fontAlgn="base">
              <a:spcAft>
                <a:spcPct val="0"/>
              </a:spcAft>
              <a:buClr>
                <a:srgbClr val="003A79"/>
              </a:buClr>
            </a:pPr>
            <a:r>
              <a:rPr lang="it-IT" sz="1200">
                <a:solidFill>
                  <a:srgbClr val="000000"/>
                </a:solidFill>
              </a:rPr>
              <a:t>di ricerca </a:t>
            </a:r>
          </a:p>
          <a:p>
            <a:pPr defTabSz="1218095" fontAlgn="base">
              <a:spcAft>
                <a:spcPct val="0"/>
              </a:spcAft>
              <a:buClr>
                <a:srgbClr val="003A79"/>
              </a:buClr>
            </a:pPr>
            <a:r>
              <a:rPr lang="it-IT" sz="1200">
                <a:solidFill>
                  <a:srgbClr val="000000"/>
                </a:solidFill>
              </a:rPr>
              <a:t>attivati</a:t>
            </a:r>
          </a:p>
        </p:txBody>
      </p:sp>
      <p:sp>
        <p:nvSpPr>
          <p:cNvPr id="255" name="TextBox 111">
            <a:extLst>
              <a:ext uri="{FF2B5EF4-FFF2-40B4-BE49-F238E27FC236}">
                <a16:creationId xmlns:a16="http://schemas.microsoft.com/office/drawing/2014/main" id="{F8A91707-B0F6-466B-A483-545F17610DCC}"/>
              </a:ext>
            </a:extLst>
          </p:cNvPr>
          <p:cNvSpPr txBox="1">
            <a:spLocks/>
          </p:cNvSpPr>
          <p:nvPr/>
        </p:nvSpPr>
        <p:spPr bwMode="gray">
          <a:xfrm>
            <a:off x="10184911" y="3351651"/>
            <a:ext cx="458459" cy="49244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3200" b="1">
                <a:solidFill>
                  <a:srgbClr val="406B9B"/>
                </a:solidFill>
                <a:latin typeface="Century Gothic"/>
              </a:rPr>
              <a:t>39</a:t>
            </a:r>
            <a:endParaRPr lang="it-IT" sz="1600" b="1" baseline="90000">
              <a:solidFill>
                <a:srgbClr val="406B9B"/>
              </a:solidFill>
              <a:latin typeface="Century Gothic"/>
            </a:endParaRPr>
          </a:p>
        </p:txBody>
      </p:sp>
      <p:sp>
        <p:nvSpPr>
          <p:cNvPr id="256" name="TextBox 112">
            <a:extLst>
              <a:ext uri="{FF2B5EF4-FFF2-40B4-BE49-F238E27FC236}">
                <a16:creationId xmlns:a16="http://schemas.microsoft.com/office/drawing/2014/main" id="{3E6D6E41-842B-4FE8-84AF-3C73C28DD8F4}"/>
              </a:ext>
            </a:extLst>
          </p:cNvPr>
          <p:cNvSpPr txBox="1">
            <a:spLocks/>
          </p:cNvSpPr>
          <p:nvPr/>
        </p:nvSpPr>
        <p:spPr bwMode="gray">
          <a:xfrm>
            <a:off x="10991493" y="3292983"/>
            <a:ext cx="156470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it-IT"/>
            </a:defPPr>
            <a:lvl1pPr lvl="0" indent="0"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defRPr sz="1735" baseline="0">
                <a:solidFill>
                  <a:srgbClr val="000000"/>
                </a:solidFill>
                <a:latin typeface="Century Gothic"/>
              </a:defRPr>
            </a:lvl1pPr>
            <a:lvl2pPr marL="258246" lvl="1" indent="-256130" defTabSz="1193860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</a:defRPr>
            </a:lvl2pPr>
            <a:lvl3pPr marL="609630" lvl="2" indent="-349268" defTabSz="1193860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</a:defRPr>
            </a:lvl3pPr>
            <a:lvl4pPr marL="819192" lvl="3" indent="-207444" defTabSz="1193860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</a:defRPr>
            </a:lvl4pPr>
            <a:lvl5pPr marL="999794" lvl="4" indent="-173575" defTabSz="1193860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>
              <a:spcBef>
                <a:spcPts val="0"/>
              </a:spcBef>
            </a:pPr>
            <a:r>
              <a:rPr lang="it-IT" sz="1200"/>
              <a:t>Pubblicazioni </a:t>
            </a:r>
          </a:p>
          <a:p>
            <a:pPr>
              <a:spcBef>
                <a:spcPts val="0"/>
              </a:spcBef>
            </a:pPr>
            <a:r>
              <a:rPr lang="it-IT" sz="1200"/>
              <a:t>scientifiche e divulgative</a:t>
            </a:r>
          </a:p>
        </p:txBody>
      </p:sp>
      <p:sp>
        <p:nvSpPr>
          <p:cNvPr id="258" name="TextBox 123">
            <a:extLst>
              <a:ext uri="{FF2B5EF4-FFF2-40B4-BE49-F238E27FC236}">
                <a16:creationId xmlns:a16="http://schemas.microsoft.com/office/drawing/2014/main" id="{E6C38A34-505B-43E7-848C-7464D5E97B71}"/>
              </a:ext>
            </a:extLst>
          </p:cNvPr>
          <p:cNvSpPr txBox="1">
            <a:spLocks/>
          </p:cNvSpPr>
          <p:nvPr/>
        </p:nvSpPr>
        <p:spPr bwMode="gray">
          <a:xfrm>
            <a:off x="10991493" y="4450684"/>
            <a:ext cx="89267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200">
                <a:solidFill>
                  <a:srgbClr val="000000"/>
                </a:solidFill>
                <a:latin typeface="Century Gothic"/>
              </a:rPr>
              <a:t>Domande di brevetto depositate e copyright</a:t>
            </a:r>
          </a:p>
        </p:txBody>
      </p:sp>
      <p:sp>
        <p:nvSpPr>
          <p:cNvPr id="259" name="TextBox 70">
            <a:extLst>
              <a:ext uri="{FF2B5EF4-FFF2-40B4-BE49-F238E27FC236}">
                <a16:creationId xmlns:a16="http://schemas.microsoft.com/office/drawing/2014/main" id="{1ED3C8CE-69E1-4BFA-A614-F8CBA950EFB3}"/>
              </a:ext>
            </a:extLst>
          </p:cNvPr>
          <p:cNvSpPr txBox="1">
            <a:spLocks/>
          </p:cNvSpPr>
          <p:nvPr/>
        </p:nvSpPr>
        <p:spPr bwMode="gray">
          <a:xfrm>
            <a:off x="10166169" y="4487173"/>
            <a:ext cx="458459" cy="49244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3200" b="1">
                <a:solidFill>
                  <a:srgbClr val="406B9B"/>
                </a:solidFill>
                <a:latin typeface="Century Gothic"/>
              </a:rPr>
              <a:t>11</a:t>
            </a:r>
            <a:endParaRPr lang="it-IT" sz="1600" b="1" baseline="90000">
              <a:solidFill>
                <a:srgbClr val="406B9B"/>
              </a:solidFill>
              <a:latin typeface="Century Gothic"/>
            </a:endParaRPr>
          </a:p>
        </p:txBody>
      </p:sp>
      <p:grpSp>
        <p:nvGrpSpPr>
          <p:cNvPr id="162" name="Gruppo 161">
            <a:extLst>
              <a:ext uri="{FF2B5EF4-FFF2-40B4-BE49-F238E27FC236}">
                <a16:creationId xmlns:a16="http://schemas.microsoft.com/office/drawing/2014/main" id="{A16CDE65-98BA-4EC2-A065-5EC22F40B57B}"/>
              </a:ext>
            </a:extLst>
          </p:cNvPr>
          <p:cNvGrpSpPr/>
          <p:nvPr/>
        </p:nvGrpSpPr>
        <p:grpSpPr>
          <a:xfrm flipH="1">
            <a:off x="4735617" y="1979721"/>
            <a:ext cx="4588439" cy="1041879"/>
            <a:chOff x="678658" y="2129110"/>
            <a:chExt cx="5488450" cy="1041879"/>
          </a:xfrm>
        </p:grpSpPr>
        <p:cxnSp>
          <p:nvCxnSpPr>
            <p:cNvPr id="163" name="Connettore diritto 162">
              <a:extLst>
                <a:ext uri="{FF2B5EF4-FFF2-40B4-BE49-F238E27FC236}">
                  <a16:creationId xmlns:a16="http://schemas.microsoft.com/office/drawing/2014/main" id="{7A2FA503-1D36-476C-9044-EC49A76E6C4B}"/>
                </a:ext>
              </a:extLst>
            </p:cNvPr>
            <p:cNvCxnSpPr>
              <a:cxnSpLocks/>
            </p:cNvCxnSpPr>
            <p:nvPr/>
          </p:nvCxnSpPr>
          <p:spPr>
            <a:xfrm>
              <a:off x="678658" y="2562065"/>
              <a:ext cx="3343398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Connettore diritto 163">
              <a:extLst>
                <a:ext uri="{FF2B5EF4-FFF2-40B4-BE49-F238E27FC236}">
                  <a16:creationId xmlns:a16="http://schemas.microsoft.com/office/drawing/2014/main" id="{27BED308-9892-401B-9903-B49F1EFEC4D2}"/>
                </a:ext>
              </a:extLst>
            </p:cNvPr>
            <p:cNvCxnSpPr>
              <a:cxnSpLocks/>
            </p:cNvCxnSpPr>
            <p:nvPr/>
          </p:nvCxnSpPr>
          <p:spPr>
            <a:xfrm>
              <a:off x="3992803" y="2554560"/>
              <a:ext cx="2174305" cy="616429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ttore diritto 162">
              <a:extLst>
                <a:ext uri="{FF2B5EF4-FFF2-40B4-BE49-F238E27FC236}">
                  <a16:creationId xmlns:a16="http://schemas.microsoft.com/office/drawing/2014/main" id="{CDBAEA25-4862-E931-D755-C16C42BE0E7C}"/>
                </a:ext>
              </a:extLst>
            </p:cNvPr>
            <p:cNvCxnSpPr>
              <a:cxnSpLocks/>
            </p:cNvCxnSpPr>
            <p:nvPr/>
          </p:nvCxnSpPr>
          <p:spPr>
            <a:xfrm>
              <a:off x="678658" y="2136615"/>
              <a:ext cx="3343397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ttore diritto 163">
              <a:extLst>
                <a:ext uri="{FF2B5EF4-FFF2-40B4-BE49-F238E27FC236}">
                  <a16:creationId xmlns:a16="http://schemas.microsoft.com/office/drawing/2014/main" id="{AFB35BFC-383B-DE42-9E8D-AC57A2BC4B79}"/>
                </a:ext>
              </a:extLst>
            </p:cNvPr>
            <p:cNvCxnSpPr>
              <a:cxnSpLocks/>
            </p:cNvCxnSpPr>
            <p:nvPr/>
          </p:nvCxnSpPr>
          <p:spPr>
            <a:xfrm>
              <a:off x="3992802" y="2129110"/>
              <a:ext cx="1853161" cy="534355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uppo 167">
            <a:extLst>
              <a:ext uri="{FF2B5EF4-FFF2-40B4-BE49-F238E27FC236}">
                <a16:creationId xmlns:a16="http://schemas.microsoft.com/office/drawing/2014/main" id="{ACED8F9E-E8CB-476C-9B3E-923EE8EA6220}"/>
              </a:ext>
            </a:extLst>
          </p:cNvPr>
          <p:cNvGrpSpPr/>
          <p:nvPr/>
        </p:nvGrpSpPr>
        <p:grpSpPr>
          <a:xfrm flipH="1">
            <a:off x="4657382" y="2862044"/>
            <a:ext cx="3187780" cy="413922"/>
            <a:chOff x="2560116" y="2554560"/>
            <a:chExt cx="3340437" cy="699374"/>
          </a:xfrm>
        </p:grpSpPr>
        <p:cxnSp>
          <p:nvCxnSpPr>
            <p:cNvPr id="169" name="Connettore diritto 168">
              <a:extLst>
                <a:ext uri="{FF2B5EF4-FFF2-40B4-BE49-F238E27FC236}">
                  <a16:creationId xmlns:a16="http://schemas.microsoft.com/office/drawing/2014/main" id="{EA9436E7-6286-4488-8C3C-7950B53802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60116" y="2558552"/>
              <a:ext cx="1461939" cy="1632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nettore diritto 169">
              <a:extLst>
                <a:ext uri="{FF2B5EF4-FFF2-40B4-BE49-F238E27FC236}">
                  <a16:creationId xmlns:a16="http://schemas.microsoft.com/office/drawing/2014/main" id="{4C365F49-57AF-4F2F-A838-9EB51324DA88}"/>
                </a:ext>
              </a:extLst>
            </p:cNvPr>
            <p:cNvCxnSpPr>
              <a:cxnSpLocks/>
            </p:cNvCxnSpPr>
            <p:nvPr/>
          </p:nvCxnSpPr>
          <p:spPr>
            <a:xfrm>
              <a:off x="3992806" y="2554560"/>
              <a:ext cx="1907747" cy="699374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1" name="Connettore diritto 170">
            <a:extLst>
              <a:ext uri="{FF2B5EF4-FFF2-40B4-BE49-F238E27FC236}">
                <a16:creationId xmlns:a16="http://schemas.microsoft.com/office/drawing/2014/main" id="{DADDBDA8-FEB9-463A-AA9A-D27D73FCF91B}"/>
              </a:ext>
            </a:extLst>
          </p:cNvPr>
          <p:cNvCxnSpPr>
            <a:cxnSpLocks/>
          </p:cNvCxnSpPr>
          <p:nvPr/>
        </p:nvCxnSpPr>
        <p:spPr>
          <a:xfrm flipH="1">
            <a:off x="5063251" y="3766358"/>
            <a:ext cx="4040172" cy="0"/>
          </a:xfrm>
          <a:prstGeom prst="line">
            <a:avLst/>
          </a:prstGeom>
          <a:ln w="1143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2" name="Gruppo 171">
            <a:extLst>
              <a:ext uri="{FF2B5EF4-FFF2-40B4-BE49-F238E27FC236}">
                <a16:creationId xmlns:a16="http://schemas.microsoft.com/office/drawing/2014/main" id="{7E1C2F0E-3694-491D-9BD1-5D5CB735F8F9}"/>
              </a:ext>
            </a:extLst>
          </p:cNvPr>
          <p:cNvGrpSpPr/>
          <p:nvPr/>
        </p:nvGrpSpPr>
        <p:grpSpPr>
          <a:xfrm flipH="1">
            <a:off x="4347956" y="3866708"/>
            <a:ext cx="4933975" cy="328007"/>
            <a:chOff x="697492" y="2240152"/>
            <a:chExt cx="5901760" cy="328007"/>
          </a:xfrm>
        </p:grpSpPr>
        <p:cxnSp>
          <p:nvCxnSpPr>
            <p:cNvPr id="173" name="Connettore diritto 172">
              <a:extLst>
                <a:ext uri="{FF2B5EF4-FFF2-40B4-BE49-F238E27FC236}">
                  <a16:creationId xmlns:a16="http://schemas.microsoft.com/office/drawing/2014/main" id="{819FD49C-EA00-4ADA-9DD3-AA845E7ABFF9}"/>
                </a:ext>
              </a:extLst>
            </p:cNvPr>
            <p:cNvCxnSpPr>
              <a:cxnSpLocks/>
            </p:cNvCxnSpPr>
            <p:nvPr/>
          </p:nvCxnSpPr>
          <p:spPr>
            <a:xfrm>
              <a:off x="697492" y="2562065"/>
              <a:ext cx="3324564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Connettore diritto 173">
              <a:extLst>
                <a:ext uri="{FF2B5EF4-FFF2-40B4-BE49-F238E27FC236}">
                  <a16:creationId xmlns:a16="http://schemas.microsoft.com/office/drawing/2014/main" id="{6AB65E58-93BF-4C8A-9A36-EE7F55201D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803" y="2240152"/>
              <a:ext cx="2606449" cy="328007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5" name="Gruppo 174">
            <a:extLst>
              <a:ext uri="{FF2B5EF4-FFF2-40B4-BE49-F238E27FC236}">
                <a16:creationId xmlns:a16="http://schemas.microsoft.com/office/drawing/2014/main" id="{65B7F749-B3D7-425D-B4C8-7F564684E55D}"/>
              </a:ext>
            </a:extLst>
          </p:cNvPr>
          <p:cNvGrpSpPr/>
          <p:nvPr/>
        </p:nvGrpSpPr>
        <p:grpSpPr>
          <a:xfrm flipH="1">
            <a:off x="4581003" y="3271685"/>
            <a:ext cx="4771401" cy="401995"/>
            <a:chOff x="931753" y="2554560"/>
            <a:chExt cx="4999895" cy="401995"/>
          </a:xfrm>
        </p:grpSpPr>
        <p:cxnSp>
          <p:nvCxnSpPr>
            <p:cNvPr id="176" name="Connettore diritto 175">
              <a:extLst>
                <a:ext uri="{FF2B5EF4-FFF2-40B4-BE49-F238E27FC236}">
                  <a16:creationId xmlns:a16="http://schemas.microsoft.com/office/drawing/2014/main" id="{3BC056F7-8087-4E53-B82A-5A3A7F8AF481}"/>
                </a:ext>
              </a:extLst>
            </p:cNvPr>
            <p:cNvCxnSpPr>
              <a:cxnSpLocks/>
            </p:cNvCxnSpPr>
            <p:nvPr/>
          </p:nvCxnSpPr>
          <p:spPr>
            <a:xfrm>
              <a:off x="931753" y="2562065"/>
              <a:ext cx="3090304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Connettore diritto 176">
              <a:extLst>
                <a:ext uri="{FF2B5EF4-FFF2-40B4-BE49-F238E27FC236}">
                  <a16:creationId xmlns:a16="http://schemas.microsoft.com/office/drawing/2014/main" id="{F85B4DA9-7616-4442-90EA-9DCEB0136A13}"/>
                </a:ext>
              </a:extLst>
            </p:cNvPr>
            <p:cNvCxnSpPr>
              <a:cxnSpLocks/>
            </p:cNvCxnSpPr>
            <p:nvPr/>
          </p:nvCxnSpPr>
          <p:spPr>
            <a:xfrm>
              <a:off x="3992805" y="2554560"/>
              <a:ext cx="1938843" cy="401995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uppo 177">
            <a:extLst>
              <a:ext uri="{FF2B5EF4-FFF2-40B4-BE49-F238E27FC236}">
                <a16:creationId xmlns:a16="http://schemas.microsoft.com/office/drawing/2014/main" id="{EC54E84C-B9CF-4621-A537-B817FA42CEC7}"/>
              </a:ext>
            </a:extLst>
          </p:cNvPr>
          <p:cNvGrpSpPr/>
          <p:nvPr/>
        </p:nvGrpSpPr>
        <p:grpSpPr>
          <a:xfrm flipH="1">
            <a:off x="4775310" y="4180648"/>
            <a:ext cx="4602638" cy="464845"/>
            <a:chOff x="619103" y="1758922"/>
            <a:chExt cx="5505435" cy="556022"/>
          </a:xfrm>
        </p:grpSpPr>
        <p:cxnSp>
          <p:nvCxnSpPr>
            <p:cNvPr id="179" name="Connettore diritto 178">
              <a:extLst>
                <a:ext uri="{FF2B5EF4-FFF2-40B4-BE49-F238E27FC236}">
                  <a16:creationId xmlns:a16="http://schemas.microsoft.com/office/drawing/2014/main" id="{A63FCCAA-A111-4E5B-A32D-B7CE5BE92974}"/>
                </a:ext>
              </a:extLst>
            </p:cNvPr>
            <p:cNvCxnSpPr>
              <a:cxnSpLocks/>
            </p:cNvCxnSpPr>
            <p:nvPr/>
          </p:nvCxnSpPr>
          <p:spPr>
            <a:xfrm>
              <a:off x="619103" y="2279865"/>
              <a:ext cx="3468840" cy="20154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Connettore diritto 179">
              <a:extLst>
                <a:ext uri="{FF2B5EF4-FFF2-40B4-BE49-F238E27FC236}">
                  <a16:creationId xmlns:a16="http://schemas.microsoft.com/office/drawing/2014/main" id="{FAC03416-8530-4679-8A0D-D4CDD09774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3499" y="1758922"/>
              <a:ext cx="2101039" cy="556022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uppo 180">
            <a:extLst>
              <a:ext uri="{FF2B5EF4-FFF2-40B4-BE49-F238E27FC236}">
                <a16:creationId xmlns:a16="http://schemas.microsoft.com/office/drawing/2014/main" id="{66F38D22-622C-4B91-9B1F-4CF469168BD2}"/>
              </a:ext>
            </a:extLst>
          </p:cNvPr>
          <p:cNvGrpSpPr/>
          <p:nvPr/>
        </p:nvGrpSpPr>
        <p:grpSpPr>
          <a:xfrm flipH="1">
            <a:off x="4769554" y="4411785"/>
            <a:ext cx="4387122" cy="648880"/>
            <a:chOff x="740402" y="1927281"/>
            <a:chExt cx="5247646" cy="648880"/>
          </a:xfrm>
        </p:grpSpPr>
        <p:cxnSp>
          <p:nvCxnSpPr>
            <p:cNvPr id="182" name="Connettore diritto 181">
              <a:extLst>
                <a:ext uri="{FF2B5EF4-FFF2-40B4-BE49-F238E27FC236}">
                  <a16:creationId xmlns:a16="http://schemas.microsoft.com/office/drawing/2014/main" id="{8694E47A-F5D7-4B17-ADF0-803E45AC200D}"/>
                </a:ext>
              </a:extLst>
            </p:cNvPr>
            <p:cNvCxnSpPr>
              <a:cxnSpLocks/>
            </p:cNvCxnSpPr>
            <p:nvPr/>
          </p:nvCxnSpPr>
          <p:spPr>
            <a:xfrm>
              <a:off x="740402" y="2562065"/>
              <a:ext cx="3281655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Connettore diritto 182">
              <a:extLst>
                <a:ext uri="{FF2B5EF4-FFF2-40B4-BE49-F238E27FC236}">
                  <a16:creationId xmlns:a16="http://schemas.microsoft.com/office/drawing/2014/main" id="{4C2A3F99-C0F8-45A7-93E5-D4886FB2B8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804" y="1927281"/>
              <a:ext cx="1995244" cy="64888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uppo 183">
            <a:extLst>
              <a:ext uri="{FF2B5EF4-FFF2-40B4-BE49-F238E27FC236}">
                <a16:creationId xmlns:a16="http://schemas.microsoft.com/office/drawing/2014/main" id="{6DD84EC6-1F73-4773-A9C8-DBFC0C108378}"/>
              </a:ext>
            </a:extLst>
          </p:cNvPr>
          <p:cNvGrpSpPr/>
          <p:nvPr/>
        </p:nvGrpSpPr>
        <p:grpSpPr>
          <a:xfrm flipH="1">
            <a:off x="5022599" y="4860666"/>
            <a:ext cx="3871070" cy="649671"/>
            <a:chOff x="887628" y="1912394"/>
            <a:chExt cx="4630372" cy="649671"/>
          </a:xfrm>
        </p:grpSpPr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526013A4-FCD7-46F5-B99A-3B2BEF9E6DD9}"/>
                </a:ext>
              </a:extLst>
            </p:cNvPr>
            <p:cNvCxnSpPr>
              <a:cxnSpLocks/>
            </p:cNvCxnSpPr>
            <p:nvPr/>
          </p:nvCxnSpPr>
          <p:spPr>
            <a:xfrm>
              <a:off x="887628" y="2562065"/>
              <a:ext cx="3134428" cy="0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nettore diritto 185">
              <a:extLst>
                <a:ext uri="{FF2B5EF4-FFF2-40B4-BE49-F238E27FC236}">
                  <a16:creationId xmlns:a16="http://schemas.microsoft.com/office/drawing/2014/main" id="{79FB5E16-D338-422B-AAD0-DB4C51DE8F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2805" y="1912394"/>
              <a:ext cx="1525195" cy="642166"/>
            </a:xfrm>
            <a:prstGeom prst="line">
              <a:avLst/>
            </a:prstGeom>
            <a:ln w="1143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7" name="Rettangolo con angoli arrotondati 186">
            <a:extLst>
              <a:ext uri="{FF2B5EF4-FFF2-40B4-BE49-F238E27FC236}">
                <a16:creationId xmlns:a16="http://schemas.microsoft.com/office/drawing/2014/main" id="{5C104684-CB2A-4E9E-9AD6-2733FD1A5415}"/>
              </a:ext>
            </a:extLst>
          </p:cNvPr>
          <p:cNvSpPr/>
          <p:nvPr/>
        </p:nvSpPr>
        <p:spPr>
          <a:xfrm>
            <a:off x="7527781" y="5296893"/>
            <a:ext cx="1970290" cy="37652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88" name="Ovale 187">
            <a:extLst>
              <a:ext uri="{FF2B5EF4-FFF2-40B4-BE49-F238E27FC236}">
                <a16:creationId xmlns:a16="http://schemas.microsoft.com/office/drawing/2014/main" id="{C566B171-D6D1-4150-906D-8FDA9F569156}"/>
              </a:ext>
            </a:extLst>
          </p:cNvPr>
          <p:cNvSpPr/>
          <p:nvPr/>
        </p:nvSpPr>
        <p:spPr>
          <a:xfrm>
            <a:off x="3283567" y="2387752"/>
            <a:ext cx="2558493" cy="255849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9" name="Rettangolo con angoli arrotondati 188">
            <a:extLst>
              <a:ext uri="{FF2B5EF4-FFF2-40B4-BE49-F238E27FC236}">
                <a16:creationId xmlns:a16="http://schemas.microsoft.com/office/drawing/2014/main" id="{22048DA9-92D4-459E-8BEF-3AF7F7F2E020}"/>
              </a:ext>
            </a:extLst>
          </p:cNvPr>
          <p:cNvSpPr/>
          <p:nvPr/>
        </p:nvSpPr>
        <p:spPr>
          <a:xfrm>
            <a:off x="7568463" y="2675300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90" name="Rettangolo con angoli arrotondati 189">
            <a:extLst>
              <a:ext uri="{FF2B5EF4-FFF2-40B4-BE49-F238E27FC236}">
                <a16:creationId xmlns:a16="http://schemas.microsoft.com/office/drawing/2014/main" id="{0EBCE0F5-535D-4450-B3F3-AB6E5F2177AA}"/>
              </a:ext>
            </a:extLst>
          </p:cNvPr>
          <p:cNvSpPr/>
          <p:nvPr/>
        </p:nvSpPr>
        <p:spPr>
          <a:xfrm>
            <a:off x="7554925" y="3546123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91" name="Rettangolo con angoli arrotondati 190">
            <a:extLst>
              <a:ext uri="{FF2B5EF4-FFF2-40B4-BE49-F238E27FC236}">
                <a16:creationId xmlns:a16="http://schemas.microsoft.com/office/drawing/2014/main" id="{CA65C08F-80AC-4C5D-80EB-05AF9B4CF36C}"/>
              </a:ext>
            </a:extLst>
          </p:cNvPr>
          <p:cNvSpPr/>
          <p:nvPr/>
        </p:nvSpPr>
        <p:spPr>
          <a:xfrm>
            <a:off x="7554925" y="3977949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92" name="Rettangolo con angoli arrotondati 191">
            <a:extLst>
              <a:ext uri="{FF2B5EF4-FFF2-40B4-BE49-F238E27FC236}">
                <a16:creationId xmlns:a16="http://schemas.microsoft.com/office/drawing/2014/main" id="{5F64F7C0-3290-4EC2-8E42-66A47E438A38}"/>
              </a:ext>
            </a:extLst>
          </p:cNvPr>
          <p:cNvSpPr/>
          <p:nvPr/>
        </p:nvSpPr>
        <p:spPr>
          <a:xfrm>
            <a:off x="7545292" y="4850430"/>
            <a:ext cx="197029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93" name="Rettangolo con angoli arrotondati 192">
            <a:extLst>
              <a:ext uri="{FF2B5EF4-FFF2-40B4-BE49-F238E27FC236}">
                <a16:creationId xmlns:a16="http://schemas.microsoft.com/office/drawing/2014/main" id="{5E12DCA0-6E5D-43F0-8754-D160E60351BD}"/>
              </a:ext>
            </a:extLst>
          </p:cNvPr>
          <p:cNvSpPr/>
          <p:nvPr/>
        </p:nvSpPr>
        <p:spPr>
          <a:xfrm>
            <a:off x="7568463" y="2236816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195" name="TextBox 55">
            <a:extLst>
              <a:ext uri="{FF2B5EF4-FFF2-40B4-BE49-F238E27FC236}">
                <a16:creationId xmlns:a16="http://schemas.microsoft.com/office/drawing/2014/main" id="{22D0BC07-0526-4538-8CEC-10CFDF036E49}"/>
              </a:ext>
            </a:extLst>
          </p:cNvPr>
          <p:cNvSpPr txBox="1">
            <a:spLocks/>
          </p:cNvSpPr>
          <p:nvPr/>
        </p:nvSpPr>
        <p:spPr>
          <a:xfrm>
            <a:off x="7907643" y="3616668"/>
            <a:ext cx="1750282" cy="2564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HEALTH &amp; SAFETY </a:t>
            </a:r>
          </a:p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AND WELLBEING</a:t>
            </a:r>
          </a:p>
        </p:txBody>
      </p:sp>
      <p:sp>
        <p:nvSpPr>
          <p:cNvPr id="196" name="TextBox 55">
            <a:extLst>
              <a:ext uri="{FF2B5EF4-FFF2-40B4-BE49-F238E27FC236}">
                <a16:creationId xmlns:a16="http://schemas.microsoft.com/office/drawing/2014/main" id="{889E0D31-30FA-491B-BD2C-593DF2EED2AD}"/>
              </a:ext>
            </a:extLst>
          </p:cNvPr>
          <p:cNvSpPr txBox="1">
            <a:spLocks/>
          </p:cNvSpPr>
          <p:nvPr/>
        </p:nvSpPr>
        <p:spPr>
          <a:xfrm>
            <a:off x="7907643" y="4047446"/>
            <a:ext cx="1750283" cy="2564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MARKETING &amp;</a:t>
            </a:r>
          </a:p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COMMUNICATION</a:t>
            </a:r>
          </a:p>
        </p:txBody>
      </p:sp>
      <p:sp>
        <p:nvSpPr>
          <p:cNvPr id="197" name="TextBox 55">
            <a:extLst>
              <a:ext uri="{FF2B5EF4-FFF2-40B4-BE49-F238E27FC236}">
                <a16:creationId xmlns:a16="http://schemas.microsoft.com/office/drawing/2014/main" id="{5EA63D3B-12B2-4F28-A57C-0BA82435907D}"/>
              </a:ext>
            </a:extLst>
          </p:cNvPr>
          <p:cNvSpPr txBox="1">
            <a:spLocks/>
          </p:cNvSpPr>
          <p:nvPr/>
        </p:nvSpPr>
        <p:spPr>
          <a:xfrm>
            <a:off x="7907643" y="2303630"/>
            <a:ext cx="1617187" cy="3847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LOW CARBON MATERIALS &amp; DECARBONIZATION</a:t>
            </a:r>
          </a:p>
          <a:p>
            <a:pPr>
              <a:lnSpc>
                <a:spcPts val="1000"/>
              </a:lnSpc>
            </a:pPr>
            <a:endParaRPr lang="it-IT" sz="1000" b="1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8" name="TextBox 55">
            <a:extLst>
              <a:ext uri="{FF2B5EF4-FFF2-40B4-BE49-F238E27FC236}">
                <a16:creationId xmlns:a16="http://schemas.microsoft.com/office/drawing/2014/main" id="{DA668209-EDD3-4CB5-A902-CA33F6D83C7A}"/>
              </a:ext>
            </a:extLst>
          </p:cNvPr>
          <p:cNvSpPr txBox="1">
            <a:spLocks/>
          </p:cNvSpPr>
          <p:nvPr/>
        </p:nvSpPr>
        <p:spPr>
          <a:xfrm>
            <a:off x="7907642" y="4901554"/>
            <a:ext cx="1510137" cy="2564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ANTI FINANCIAL CRIME &amp; FRAUD DETECTION</a:t>
            </a:r>
          </a:p>
        </p:txBody>
      </p:sp>
      <p:sp>
        <p:nvSpPr>
          <p:cNvPr id="199" name="TextBox 55">
            <a:extLst>
              <a:ext uri="{FF2B5EF4-FFF2-40B4-BE49-F238E27FC236}">
                <a16:creationId xmlns:a16="http://schemas.microsoft.com/office/drawing/2014/main" id="{18B67C20-C0A3-4638-9BDB-DC8278CF81BA}"/>
              </a:ext>
            </a:extLst>
          </p:cNvPr>
          <p:cNvSpPr txBox="1">
            <a:spLocks/>
          </p:cNvSpPr>
          <p:nvPr/>
        </p:nvSpPr>
        <p:spPr>
          <a:xfrm>
            <a:off x="7907643" y="2773356"/>
            <a:ext cx="1750283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ENERGY TRANSITION</a:t>
            </a:r>
          </a:p>
        </p:txBody>
      </p:sp>
      <p:sp>
        <p:nvSpPr>
          <p:cNvPr id="200" name="Ovale 199">
            <a:extLst>
              <a:ext uri="{FF2B5EF4-FFF2-40B4-BE49-F238E27FC236}">
                <a16:creationId xmlns:a16="http://schemas.microsoft.com/office/drawing/2014/main" id="{1982F8A8-7C3C-463F-B9CA-CC27073677A4}"/>
              </a:ext>
            </a:extLst>
          </p:cNvPr>
          <p:cNvSpPr/>
          <p:nvPr/>
        </p:nvSpPr>
        <p:spPr>
          <a:xfrm>
            <a:off x="3492989" y="2626885"/>
            <a:ext cx="2054444" cy="2054444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5" name="Arco 204">
            <a:extLst>
              <a:ext uri="{FF2B5EF4-FFF2-40B4-BE49-F238E27FC236}">
                <a16:creationId xmlns:a16="http://schemas.microsoft.com/office/drawing/2014/main" id="{50BF7A82-A565-4C66-8511-C3D21F67CC18}"/>
              </a:ext>
            </a:extLst>
          </p:cNvPr>
          <p:cNvSpPr/>
          <p:nvPr/>
        </p:nvSpPr>
        <p:spPr>
          <a:xfrm>
            <a:off x="3156612" y="2262675"/>
            <a:ext cx="2751029" cy="2802824"/>
          </a:xfrm>
          <a:prstGeom prst="arc">
            <a:avLst>
              <a:gd name="adj1" fmla="val 17763927"/>
              <a:gd name="adj2" fmla="val 4049858"/>
            </a:avLst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7" name="Rettangolo con angoli arrotondati 206">
            <a:extLst>
              <a:ext uri="{FF2B5EF4-FFF2-40B4-BE49-F238E27FC236}">
                <a16:creationId xmlns:a16="http://schemas.microsoft.com/office/drawing/2014/main" id="{8C1F76AC-7E69-4F62-BA3B-C3CB57EB7BE8}"/>
              </a:ext>
            </a:extLst>
          </p:cNvPr>
          <p:cNvSpPr/>
          <p:nvPr/>
        </p:nvSpPr>
        <p:spPr>
          <a:xfrm>
            <a:off x="7574831" y="1798169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208" name="TextBox 55">
            <a:extLst>
              <a:ext uri="{FF2B5EF4-FFF2-40B4-BE49-F238E27FC236}">
                <a16:creationId xmlns:a16="http://schemas.microsoft.com/office/drawing/2014/main" id="{FD4D1BAD-4C6E-4DFA-B95F-BFEB58B0F86E}"/>
              </a:ext>
            </a:extLst>
          </p:cNvPr>
          <p:cNvSpPr txBox="1">
            <a:spLocks/>
          </p:cNvSpPr>
          <p:nvPr/>
        </p:nvSpPr>
        <p:spPr>
          <a:xfrm>
            <a:off x="7907643" y="1902814"/>
            <a:ext cx="1234274" cy="15388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AGTECH</a:t>
            </a:r>
          </a:p>
        </p:txBody>
      </p:sp>
      <p:pic>
        <p:nvPicPr>
          <p:cNvPr id="209" name="Elemento grafico 208">
            <a:extLst>
              <a:ext uri="{FF2B5EF4-FFF2-40B4-BE49-F238E27FC236}">
                <a16:creationId xmlns:a16="http://schemas.microsoft.com/office/drawing/2014/main" id="{BE2455FC-6B8E-4A8B-9AAA-97DD6FAC42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1321"/>
          <a:stretch/>
        </p:blipFill>
        <p:spPr>
          <a:xfrm>
            <a:off x="7613258" y="1883473"/>
            <a:ext cx="266142" cy="209398"/>
          </a:xfrm>
          <a:prstGeom prst="rect">
            <a:avLst/>
          </a:prstGeom>
        </p:spPr>
      </p:pic>
      <p:pic>
        <p:nvPicPr>
          <p:cNvPr id="210" name="Elemento grafico 209">
            <a:extLst>
              <a:ext uri="{FF2B5EF4-FFF2-40B4-BE49-F238E27FC236}">
                <a16:creationId xmlns:a16="http://schemas.microsoft.com/office/drawing/2014/main" id="{468C1757-7D0D-4303-AEEC-1DE3618713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9071"/>
          <a:stretch/>
        </p:blipFill>
        <p:spPr>
          <a:xfrm>
            <a:off x="7653010" y="2789699"/>
            <a:ext cx="192152" cy="155510"/>
          </a:xfrm>
          <a:prstGeom prst="rect">
            <a:avLst/>
          </a:prstGeom>
        </p:spPr>
      </p:pic>
      <p:pic>
        <p:nvPicPr>
          <p:cNvPr id="211" name="Elemento grafico 210">
            <a:extLst>
              <a:ext uri="{FF2B5EF4-FFF2-40B4-BE49-F238E27FC236}">
                <a16:creationId xmlns:a16="http://schemas.microsoft.com/office/drawing/2014/main" id="{6E8A8D93-6981-4001-86A6-C552C62DF0E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5589"/>
          <a:stretch/>
        </p:blipFill>
        <p:spPr>
          <a:xfrm>
            <a:off x="7628873" y="3647614"/>
            <a:ext cx="232507" cy="196261"/>
          </a:xfrm>
          <a:prstGeom prst="rect">
            <a:avLst/>
          </a:prstGeom>
        </p:spPr>
      </p:pic>
      <p:pic>
        <p:nvPicPr>
          <p:cNvPr id="212" name="Elemento grafico 211">
            <a:extLst>
              <a:ext uri="{FF2B5EF4-FFF2-40B4-BE49-F238E27FC236}">
                <a16:creationId xmlns:a16="http://schemas.microsoft.com/office/drawing/2014/main" id="{E51CC08C-4FDC-4C81-8408-00BBB2981BB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7190"/>
          <a:stretch/>
        </p:blipFill>
        <p:spPr>
          <a:xfrm>
            <a:off x="7614624" y="4051334"/>
            <a:ext cx="268631" cy="222451"/>
          </a:xfrm>
          <a:prstGeom prst="rect">
            <a:avLst/>
          </a:prstGeom>
        </p:spPr>
      </p:pic>
      <p:sp>
        <p:nvSpPr>
          <p:cNvPr id="214" name="Rettangolo con angoli arrotondati 213">
            <a:extLst>
              <a:ext uri="{FF2B5EF4-FFF2-40B4-BE49-F238E27FC236}">
                <a16:creationId xmlns:a16="http://schemas.microsoft.com/office/drawing/2014/main" id="{EA25D500-514E-4DA1-9AE4-D504EC173F46}"/>
              </a:ext>
            </a:extLst>
          </p:cNvPr>
          <p:cNvSpPr/>
          <p:nvPr/>
        </p:nvSpPr>
        <p:spPr>
          <a:xfrm>
            <a:off x="7534604" y="4416375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215" name="TextBox 55">
            <a:extLst>
              <a:ext uri="{FF2B5EF4-FFF2-40B4-BE49-F238E27FC236}">
                <a16:creationId xmlns:a16="http://schemas.microsoft.com/office/drawing/2014/main" id="{BAF34240-C4EF-4369-9F49-2A8F3722336C}"/>
              </a:ext>
            </a:extLst>
          </p:cNvPr>
          <p:cNvSpPr txBox="1">
            <a:spLocks/>
          </p:cNvSpPr>
          <p:nvPr/>
        </p:nvSpPr>
        <p:spPr>
          <a:xfrm>
            <a:off x="7907643" y="4476477"/>
            <a:ext cx="1502337" cy="2564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HR, EDUCATION &amp;  INCLUSION AND ART</a:t>
            </a:r>
          </a:p>
        </p:txBody>
      </p:sp>
      <p:pic>
        <p:nvPicPr>
          <p:cNvPr id="216" name="Elemento grafico 215">
            <a:extLst>
              <a:ext uri="{FF2B5EF4-FFF2-40B4-BE49-F238E27FC236}">
                <a16:creationId xmlns:a16="http://schemas.microsoft.com/office/drawing/2014/main" id="{8A0A0001-ED7D-45B0-8C59-B41577363A9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17190"/>
          <a:stretch/>
        </p:blipFill>
        <p:spPr>
          <a:xfrm>
            <a:off x="7604400" y="4504628"/>
            <a:ext cx="264164" cy="218755"/>
          </a:xfrm>
          <a:prstGeom prst="rect">
            <a:avLst/>
          </a:prstGeom>
        </p:spPr>
      </p:pic>
      <p:sp>
        <p:nvSpPr>
          <p:cNvPr id="217" name="Ovale 216">
            <a:extLst>
              <a:ext uri="{FF2B5EF4-FFF2-40B4-BE49-F238E27FC236}">
                <a16:creationId xmlns:a16="http://schemas.microsoft.com/office/drawing/2014/main" id="{76628798-09A9-4EDE-8E92-7C5D132F6E7C}"/>
              </a:ext>
            </a:extLst>
          </p:cNvPr>
          <p:cNvSpPr/>
          <p:nvPr/>
        </p:nvSpPr>
        <p:spPr>
          <a:xfrm>
            <a:off x="5492079" y="2694481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8" name="Ovale 217">
            <a:extLst>
              <a:ext uri="{FF2B5EF4-FFF2-40B4-BE49-F238E27FC236}">
                <a16:creationId xmlns:a16="http://schemas.microsoft.com/office/drawing/2014/main" id="{490CE669-608C-4279-8B44-2AEB9326B900}"/>
              </a:ext>
            </a:extLst>
          </p:cNvPr>
          <p:cNvSpPr/>
          <p:nvPr/>
        </p:nvSpPr>
        <p:spPr>
          <a:xfrm>
            <a:off x="5689544" y="2991794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9" name="Ovale 218">
            <a:extLst>
              <a:ext uri="{FF2B5EF4-FFF2-40B4-BE49-F238E27FC236}">
                <a16:creationId xmlns:a16="http://schemas.microsoft.com/office/drawing/2014/main" id="{9129E2D1-413C-4527-B39A-78EF7AA171E9}"/>
              </a:ext>
            </a:extLst>
          </p:cNvPr>
          <p:cNvSpPr/>
          <p:nvPr/>
        </p:nvSpPr>
        <p:spPr>
          <a:xfrm>
            <a:off x="5815044" y="3346994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0" name="Ovale 219">
            <a:extLst>
              <a:ext uri="{FF2B5EF4-FFF2-40B4-BE49-F238E27FC236}">
                <a16:creationId xmlns:a16="http://schemas.microsoft.com/office/drawing/2014/main" id="{AC0C4F48-48B0-4C3D-8013-1007971A2634}"/>
              </a:ext>
            </a:extLst>
          </p:cNvPr>
          <p:cNvSpPr/>
          <p:nvPr/>
        </p:nvSpPr>
        <p:spPr>
          <a:xfrm>
            <a:off x="5843449" y="3712387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1" name="Ovale 220">
            <a:extLst>
              <a:ext uri="{FF2B5EF4-FFF2-40B4-BE49-F238E27FC236}">
                <a16:creationId xmlns:a16="http://schemas.microsoft.com/office/drawing/2014/main" id="{3A0479E1-2691-40F6-92B3-FF9188D669FC}"/>
              </a:ext>
            </a:extLst>
          </p:cNvPr>
          <p:cNvSpPr/>
          <p:nvPr/>
        </p:nvSpPr>
        <p:spPr>
          <a:xfrm>
            <a:off x="5790959" y="4021421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2" name="Ovale 221">
            <a:extLst>
              <a:ext uri="{FF2B5EF4-FFF2-40B4-BE49-F238E27FC236}">
                <a16:creationId xmlns:a16="http://schemas.microsoft.com/office/drawing/2014/main" id="{EAB4A7AA-CF8F-477A-A77C-B185039BCBD0}"/>
              </a:ext>
            </a:extLst>
          </p:cNvPr>
          <p:cNvSpPr/>
          <p:nvPr/>
        </p:nvSpPr>
        <p:spPr>
          <a:xfrm>
            <a:off x="5629519" y="4356359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3" name="Ovale 222">
            <a:extLst>
              <a:ext uri="{FF2B5EF4-FFF2-40B4-BE49-F238E27FC236}">
                <a16:creationId xmlns:a16="http://schemas.microsoft.com/office/drawing/2014/main" id="{93EAD4FE-475A-471D-9017-D5E95A55F648}"/>
              </a:ext>
            </a:extLst>
          </p:cNvPr>
          <p:cNvSpPr/>
          <p:nvPr/>
        </p:nvSpPr>
        <p:spPr>
          <a:xfrm>
            <a:off x="5420014" y="4616629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4" name="Ovale 223">
            <a:extLst>
              <a:ext uri="{FF2B5EF4-FFF2-40B4-BE49-F238E27FC236}">
                <a16:creationId xmlns:a16="http://schemas.microsoft.com/office/drawing/2014/main" id="{ECC238AA-6981-4125-B7A4-25E01E307877}"/>
              </a:ext>
            </a:extLst>
          </p:cNvPr>
          <p:cNvSpPr/>
          <p:nvPr/>
        </p:nvSpPr>
        <p:spPr>
          <a:xfrm>
            <a:off x="5045021" y="4872650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7" name="TextBox 55">
            <a:extLst>
              <a:ext uri="{FF2B5EF4-FFF2-40B4-BE49-F238E27FC236}">
                <a16:creationId xmlns:a16="http://schemas.microsoft.com/office/drawing/2014/main" id="{4FDE771E-BD05-4E82-B373-E784E1A90071}"/>
              </a:ext>
            </a:extLst>
          </p:cNvPr>
          <p:cNvSpPr txBox="1">
            <a:spLocks/>
          </p:cNvSpPr>
          <p:nvPr/>
        </p:nvSpPr>
        <p:spPr>
          <a:xfrm>
            <a:off x="7913500" y="5366480"/>
            <a:ext cx="1750283" cy="25648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 panose="020B0502020202020204" pitchFamily="34" charset="0"/>
              </a:rPr>
              <a:t>FINANCE, INSURANCE                     &amp; WEALTH MGMT</a:t>
            </a:r>
          </a:p>
        </p:txBody>
      </p:sp>
      <p:pic>
        <p:nvPicPr>
          <p:cNvPr id="228" name="Elemento grafico 227">
            <a:extLst>
              <a:ext uri="{FF2B5EF4-FFF2-40B4-BE49-F238E27FC236}">
                <a16:creationId xmlns:a16="http://schemas.microsoft.com/office/drawing/2014/main" id="{579C17D1-B0DA-48CC-AFDB-8E56397DC4A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b="33564"/>
          <a:stretch/>
        </p:blipFill>
        <p:spPr>
          <a:xfrm>
            <a:off x="7566479" y="5375018"/>
            <a:ext cx="308867" cy="204801"/>
          </a:xfrm>
          <a:prstGeom prst="rect">
            <a:avLst/>
          </a:prstGeom>
        </p:spPr>
      </p:pic>
      <p:sp>
        <p:nvSpPr>
          <p:cNvPr id="229" name="Cerchio vuoto 228">
            <a:extLst>
              <a:ext uri="{FF2B5EF4-FFF2-40B4-BE49-F238E27FC236}">
                <a16:creationId xmlns:a16="http://schemas.microsoft.com/office/drawing/2014/main" id="{FF33776D-053C-4EE0-B806-15917014BB4C}"/>
              </a:ext>
            </a:extLst>
          </p:cNvPr>
          <p:cNvSpPr/>
          <p:nvPr/>
        </p:nvSpPr>
        <p:spPr>
          <a:xfrm>
            <a:off x="3277565" y="2412406"/>
            <a:ext cx="2485310" cy="2485310"/>
          </a:xfrm>
          <a:prstGeom prst="donut">
            <a:avLst>
              <a:gd name="adj" fmla="val 8542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pic>
        <p:nvPicPr>
          <p:cNvPr id="231" name="Elemento grafico 230">
            <a:extLst>
              <a:ext uri="{FF2B5EF4-FFF2-40B4-BE49-F238E27FC236}">
                <a16:creationId xmlns:a16="http://schemas.microsoft.com/office/drawing/2014/main" id="{6A55DC81-CAE4-4EF7-8FE9-D633DD3BE4E0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b="19134"/>
          <a:stretch/>
        </p:blipFill>
        <p:spPr>
          <a:xfrm>
            <a:off x="7592099" y="4926231"/>
            <a:ext cx="281333" cy="227502"/>
          </a:xfrm>
          <a:prstGeom prst="rect">
            <a:avLst/>
          </a:prstGeom>
        </p:spPr>
      </p:pic>
      <p:sp>
        <p:nvSpPr>
          <p:cNvPr id="232" name="Rettangolo con angoli arrotondati 231">
            <a:extLst>
              <a:ext uri="{FF2B5EF4-FFF2-40B4-BE49-F238E27FC236}">
                <a16:creationId xmlns:a16="http://schemas.microsoft.com/office/drawing/2014/main" id="{6504799E-2187-4E3F-A347-9C31F4313511}"/>
              </a:ext>
            </a:extLst>
          </p:cNvPr>
          <p:cNvSpPr/>
          <p:nvPr/>
        </p:nvSpPr>
        <p:spPr>
          <a:xfrm>
            <a:off x="7558232" y="3110078"/>
            <a:ext cx="1969750" cy="3772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06B9B"/>
              </a:gs>
              <a:gs pos="100000">
                <a:srgbClr val="003A7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00"/>
          </a:p>
        </p:txBody>
      </p:sp>
      <p:sp>
        <p:nvSpPr>
          <p:cNvPr id="233" name="TextBox 55">
            <a:extLst>
              <a:ext uri="{FF2B5EF4-FFF2-40B4-BE49-F238E27FC236}">
                <a16:creationId xmlns:a16="http://schemas.microsoft.com/office/drawing/2014/main" id="{28E096FB-6310-4659-B901-2633EA08CD58}"/>
              </a:ext>
            </a:extLst>
          </p:cNvPr>
          <p:cNvSpPr txBox="1">
            <a:spLocks/>
          </p:cNvSpPr>
          <p:nvPr/>
        </p:nvSpPr>
        <p:spPr>
          <a:xfrm>
            <a:off x="7907642" y="3235952"/>
            <a:ext cx="1554743" cy="1282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000" b="1">
                <a:solidFill>
                  <a:schemeClr val="bg1"/>
                </a:solidFill>
                <a:latin typeface="Century Gothic"/>
              </a:rPr>
              <a:t>CLIMATE &amp; BIODIVERSITY</a:t>
            </a:r>
            <a:endParaRPr lang="it-IT" sz="1000" b="1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34" name="Elemento grafico 233">
            <a:extLst>
              <a:ext uri="{FF2B5EF4-FFF2-40B4-BE49-F238E27FC236}">
                <a16:creationId xmlns:a16="http://schemas.microsoft.com/office/drawing/2014/main" id="{4C492649-5B4D-4634-9B8A-194F799612A2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b="19214"/>
          <a:stretch/>
        </p:blipFill>
        <p:spPr>
          <a:xfrm>
            <a:off x="7600733" y="3180814"/>
            <a:ext cx="255757" cy="206615"/>
          </a:xfrm>
          <a:prstGeom prst="rect">
            <a:avLst/>
          </a:prstGeom>
        </p:spPr>
      </p:pic>
      <p:pic>
        <p:nvPicPr>
          <p:cNvPr id="235" name="Elemento grafico 234">
            <a:extLst>
              <a:ext uri="{FF2B5EF4-FFF2-40B4-BE49-F238E27FC236}">
                <a16:creationId xmlns:a16="http://schemas.microsoft.com/office/drawing/2014/main" id="{FCF423BB-FF9A-44F5-A528-64D500A354A0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b="26105"/>
          <a:stretch/>
        </p:blipFill>
        <p:spPr>
          <a:xfrm>
            <a:off x="7572967" y="2272199"/>
            <a:ext cx="364968" cy="269695"/>
          </a:xfrm>
          <a:prstGeom prst="rect">
            <a:avLst/>
          </a:prstGeom>
        </p:spPr>
      </p:pic>
      <p:pic>
        <p:nvPicPr>
          <p:cNvPr id="236" name="Immagine 4">
            <a:extLst>
              <a:ext uri="{FF2B5EF4-FFF2-40B4-BE49-F238E27FC236}">
                <a16:creationId xmlns:a16="http://schemas.microsoft.com/office/drawing/2014/main" id="{DF5C107E-0385-48A1-910C-D293D9AAA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426" y="3118535"/>
            <a:ext cx="1497012" cy="479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7" name="Immagine 3">
            <a:extLst>
              <a:ext uri="{FF2B5EF4-FFF2-40B4-BE49-F238E27FC236}">
                <a16:creationId xmlns:a16="http://schemas.microsoft.com/office/drawing/2014/main" id="{465B3AEA-EE87-43D6-B11D-667927EBC9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8461" y="3837556"/>
            <a:ext cx="1160820" cy="395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Ovale 89">
            <a:extLst>
              <a:ext uri="{FF2B5EF4-FFF2-40B4-BE49-F238E27FC236}">
                <a16:creationId xmlns:a16="http://schemas.microsoft.com/office/drawing/2014/main" id="{2992B0D8-6647-4C1E-837C-76E64CB6E050}"/>
              </a:ext>
            </a:extLst>
          </p:cNvPr>
          <p:cNvSpPr/>
          <p:nvPr/>
        </p:nvSpPr>
        <p:spPr>
          <a:xfrm rot="1737423">
            <a:off x="2524319" y="1594942"/>
            <a:ext cx="4052288" cy="4069315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ArchDown">
              <a:avLst/>
            </a:prstTxWarp>
            <a:no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NOVATION INTELLIGENCE</a:t>
            </a:r>
            <a:endParaRPr lang="it-IT" sz="1200" b="1">
              <a:solidFill>
                <a:schemeClr val="bg1"/>
              </a:solidFill>
            </a:endParaRPr>
          </a:p>
        </p:txBody>
      </p:sp>
      <p:sp>
        <p:nvSpPr>
          <p:cNvPr id="201" name="TextBox 53">
            <a:extLst>
              <a:ext uri="{FF2B5EF4-FFF2-40B4-BE49-F238E27FC236}">
                <a16:creationId xmlns:a16="http://schemas.microsoft.com/office/drawing/2014/main" id="{F1B5C98D-8EB2-485E-A348-AD83801ACF1A}"/>
              </a:ext>
            </a:extLst>
          </p:cNvPr>
          <p:cNvSpPr txBox="1">
            <a:spLocks/>
          </p:cNvSpPr>
          <p:nvPr/>
        </p:nvSpPr>
        <p:spPr>
          <a:xfrm>
            <a:off x="535586" y="3933579"/>
            <a:ext cx="2141242" cy="18838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defRPr/>
            </a:pPr>
            <a:r>
              <a:rPr lang="it-IT" sz="1200" b="1">
                <a:solidFill>
                  <a:srgbClr val="1F497D"/>
                </a:solidFill>
                <a:latin typeface="Century Gothic"/>
              </a:rPr>
              <a:t>APPLIED RESEARCH</a:t>
            </a:r>
          </a:p>
        </p:txBody>
      </p:sp>
      <p:sp>
        <p:nvSpPr>
          <p:cNvPr id="202" name="TextBox 57">
            <a:extLst>
              <a:ext uri="{FF2B5EF4-FFF2-40B4-BE49-F238E27FC236}">
                <a16:creationId xmlns:a16="http://schemas.microsoft.com/office/drawing/2014/main" id="{0A043FCA-18EA-428C-A1DD-9FF2B390B329}"/>
              </a:ext>
            </a:extLst>
          </p:cNvPr>
          <p:cNvSpPr txBox="1">
            <a:spLocks/>
          </p:cNvSpPr>
          <p:nvPr/>
        </p:nvSpPr>
        <p:spPr>
          <a:xfrm>
            <a:off x="535586" y="2074290"/>
            <a:ext cx="2849993" cy="18838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defRPr/>
            </a:pPr>
            <a:r>
              <a:rPr lang="it-IT" sz="1200" b="1">
                <a:solidFill>
                  <a:srgbClr val="1F497D"/>
                </a:solidFill>
                <a:latin typeface="Century Gothic" panose="020B0502020202020204" pitchFamily="34" charset="0"/>
              </a:rPr>
              <a:t>INNOVATION INTELLIGENCE</a:t>
            </a:r>
          </a:p>
        </p:txBody>
      </p:sp>
      <p:sp>
        <p:nvSpPr>
          <p:cNvPr id="203" name="TextBox 54">
            <a:extLst>
              <a:ext uri="{FF2B5EF4-FFF2-40B4-BE49-F238E27FC236}">
                <a16:creationId xmlns:a16="http://schemas.microsoft.com/office/drawing/2014/main" id="{56AE3A26-B092-4DCD-8282-913C6379F337}"/>
              </a:ext>
            </a:extLst>
          </p:cNvPr>
          <p:cNvSpPr txBox="1">
            <a:spLocks/>
          </p:cNvSpPr>
          <p:nvPr/>
        </p:nvSpPr>
        <p:spPr>
          <a:xfrm>
            <a:off x="535586" y="4195643"/>
            <a:ext cx="2039681" cy="137107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defRPr/>
            </a:pPr>
            <a:r>
              <a:rPr lang="it-IT" sz="1100">
                <a:solidFill>
                  <a:prstClr val="black"/>
                </a:solidFill>
                <a:latin typeface="Century Gothic" panose="020B0502020202020204" pitchFamily="34" charset="0"/>
              </a:rPr>
              <a:t>Attivazione di progetti di ricerca applicata per portare innovazione al Gruppo, alla clientela, a istituzioni pubbliche su territorio italiano, nonché a ecosistemi di innovazione locali</a:t>
            </a:r>
            <a:endParaRPr lang="it-IT" sz="1100" b="1">
              <a:solidFill>
                <a:srgbClr val="8064A2"/>
              </a:solidFill>
              <a:latin typeface="Century Gothic" panose="020B0502020202020204" pitchFamily="34" charset="0"/>
            </a:endParaRPr>
          </a:p>
        </p:txBody>
      </p:sp>
      <p:sp>
        <p:nvSpPr>
          <p:cNvPr id="204" name="CasellaDiTesto 203">
            <a:extLst>
              <a:ext uri="{FF2B5EF4-FFF2-40B4-BE49-F238E27FC236}">
                <a16:creationId xmlns:a16="http://schemas.microsoft.com/office/drawing/2014/main" id="{B6B64CC1-0FEF-47AB-812A-8500A51C67E1}"/>
              </a:ext>
            </a:extLst>
          </p:cNvPr>
          <p:cNvSpPr txBox="1"/>
          <p:nvPr/>
        </p:nvSpPr>
        <p:spPr>
          <a:xfrm>
            <a:off x="535586" y="2329940"/>
            <a:ext cx="2146075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it-IT" sz="1100">
                <a:latin typeface="Century Gothic" panose="020B0502020202020204" pitchFamily="34" charset="0"/>
              </a:rPr>
              <a:t>Analisi quali-quantitative sul mondo dell’innovazione sfruttando molteplici fonti dati e indicatori specialistici utili anche ad individuare nuove progettualità.</a:t>
            </a:r>
          </a:p>
        </p:txBody>
      </p:sp>
      <p:sp>
        <p:nvSpPr>
          <p:cNvPr id="241" name="CasellaDiTesto 240">
            <a:extLst>
              <a:ext uri="{FF2B5EF4-FFF2-40B4-BE49-F238E27FC236}">
                <a16:creationId xmlns:a16="http://schemas.microsoft.com/office/drawing/2014/main" id="{F2C43A50-B88C-4AB3-958F-3CBA17E4F9E0}"/>
              </a:ext>
            </a:extLst>
          </p:cNvPr>
          <p:cNvSpPr txBox="1"/>
          <p:nvPr/>
        </p:nvSpPr>
        <p:spPr>
          <a:xfrm>
            <a:off x="7504817" y="1022021"/>
            <a:ext cx="2307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Filoni di applicazione</a:t>
            </a:r>
          </a:p>
        </p:txBody>
      </p:sp>
      <p:cxnSp>
        <p:nvCxnSpPr>
          <p:cNvPr id="242" name="Connettore 1 17">
            <a:extLst>
              <a:ext uri="{FF2B5EF4-FFF2-40B4-BE49-F238E27FC236}">
                <a16:creationId xmlns:a16="http://schemas.microsoft.com/office/drawing/2014/main" id="{C712393C-BC86-49E3-A0A0-B84C81CFEFAB}"/>
              </a:ext>
            </a:extLst>
          </p:cNvPr>
          <p:cNvCxnSpPr>
            <a:cxnSpLocks/>
          </p:cNvCxnSpPr>
          <p:nvPr/>
        </p:nvCxnSpPr>
        <p:spPr>
          <a:xfrm>
            <a:off x="9909164" y="1798169"/>
            <a:ext cx="0" cy="3926272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igura a mano libera: forma 5">
            <a:extLst>
              <a:ext uri="{FF2B5EF4-FFF2-40B4-BE49-F238E27FC236}">
                <a16:creationId xmlns:a16="http://schemas.microsoft.com/office/drawing/2014/main" id="{3C135B08-1C04-4383-8569-0E50A3719FCE}"/>
              </a:ext>
            </a:extLst>
          </p:cNvPr>
          <p:cNvSpPr/>
          <p:nvPr/>
        </p:nvSpPr>
        <p:spPr>
          <a:xfrm>
            <a:off x="4984028" y="2334997"/>
            <a:ext cx="177421" cy="194481"/>
          </a:xfrm>
          <a:custGeom>
            <a:avLst/>
            <a:gdLst>
              <a:gd name="connsiteX0" fmla="*/ 0 w 187657"/>
              <a:gd name="connsiteY0" fmla="*/ 116006 h 194481"/>
              <a:gd name="connsiteX1" fmla="*/ 0 w 187657"/>
              <a:gd name="connsiteY1" fmla="*/ 116006 h 194481"/>
              <a:gd name="connsiteX2" fmla="*/ 58003 w 187657"/>
              <a:gd name="connsiteY2" fmla="*/ 0 h 194481"/>
              <a:gd name="connsiteX3" fmla="*/ 187657 w 187657"/>
              <a:gd name="connsiteY3" fmla="*/ 146713 h 194481"/>
              <a:gd name="connsiteX4" fmla="*/ 170597 w 187657"/>
              <a:gd name="connsiteY4" fmla="*/ 194481 h 194481"/>
              <a:gd name="connsiteX5" fmla="*/ 0 w 187657"/>
              <a:gd name="connsiteY5" fmla="*/ 116006 h 194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657" h="194481">
                <a:moveTo>
                  <a:pt x="0" y="116006"/>
                </a:moveTo>
                <a:lnTo>
                  <a:pt x="0" y="116006"/>
                </a:lnTo>
                <a:lnTo>
                  <a:pt x="58003" y="0"/>
                </a:lnTo>
                <a:lnTo>
                  <a:pt x="187657" y="146713"/>
                </a:lnTo>
                <a:lnTo>
                  <a:pt x="170597" y="194481"/>
                </a:lnTo>
                <a:lnTo>
                  <a:pt x="0" y="11600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0" name="Ovale 229">
            <a:extLst>
              <a:ext uri="{FF2B5EF4-FFF2-40B4-BE49-F238E27FC236}">
                <a16:creationId xmlns:a16="http://schemas.microsoft.com/office/drawing/2014/main" id="{CBC97181-5B5A-416B-A23C-833DC9EE1319}"/>
              </a:ext>
            </a:extLst>
          </p:cNvPr>
          <p:cNvSpPr/>
          <p:nvPr/>
        </p:nvSpPr>
        <p:spPr>
          <a:xfrm>
            <a:off x="5122288" y="2398400"/>
            <a:ext cx="107941" cy="10794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9" name="CasellaDiTesto 14">
            <a:extLst>
              <a:ext uri="{FF2B5EF4-FFF2-40B4-BE49-F238E27FC236}">
                <a16:creationId xmlns:a16="http://schemas.microsoft.com/office/drawing/2014/main" id="{480803E6-9312-4FB2-B567-D53100936FB9}"/>
              </a:ext>
            </a:extLst>
          </p:cNvPr>
          <p:cNvSpPr txBox="1"/>
          <p:nvPr/>
        </p:nvSpPr>
        <p:spPr>
          <a:xfrm>
            <a:off x="535547" y="6444147"/>
            <a:ext cx="2665282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102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dal 2018 al I semestre </a:t>
            </a:r>
            <a:r>
              <a:rPr kumimoji="0" lang="it-IT" sz="102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  <a:sym typeface="Century Gothic" panose="020B0502020202020204" pitchFamily="34" charset="0"/>
              </a:rPr>
              <a:t>2023</a:t>
            </a:r>
            <a:endParaRPr kumimoji="0" lang="it-IT" sz="102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Open Sans"/>
              <a:cs typeface="Open Sans"/>
            </a:endParaRPr>
          </a:p>
        </p:txBody>
      </p:sp>
      <p:cxnSp>
        <p:nvCxnSpPr>
          <p:cNvPr id="28" name="Connettore 1 34">
            <a:extLst>
              <a:ext uri="{FF2B5EF4-FFF2-40B4-BE49-F238E27FC236}">
                <a16:creationId xmlns:a16="http://schemas.microsoft.com/office/drawing/2014/main" id="{42BFCE06-5C2A-C5A0-51FE-7EA4C5AA0E6E}"/>
              </a:ext>
            </a:extLst>
          </p:cNvPr>
          <p:cNvCxnSpPr>
            <a:cxnSpLocks/>
          </p:cNvCxnSpPr>
          <p:nvPr/>
        </p:nvCxnSpPr>
        <p:spPr>
          <a:xfrm>
            <a:off x="7613258" y="1424873"/>
            <a:ext cx="2138119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C877F523-83DE-DB8F-DD8C-865E4B1AEDAE}"/>
              </a:ext>
            </a:extLst>
          </p:cNvPr>
          <p:cNvCxnSpPr>
            <a:cxnSpLocks/>
          </p:cNvCxnSpPr>
          <p:nvPr/>
        </p:nvCxnSpPr>
        <p:spPr>
          <a:xfrm>
            <a:off x="534831" y="1432117"/>
            <a:ext cx="6708920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9901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245" b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531284" y="366713"/>
            <a:ext cx="10363200" cy="4082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/>
              <a:t>Innovation Intelligence &amp; Applied Research</a:t>
            </a:r>
          </a:p>
        </p:txBody>
      </p:sp>
      <p:sp>
        <p:nvSpPr>
          <p:cNvPr id="97" name="Rettangolo 71">
            <a:extLst>
              <a:ext uri="{FF2B5EF4-FFF2-40B4-BE49-F238E27FC236}">
                <a16:creationId xmlns:a16="http://schemas.microsoft.com/office/drawing/2014/main" id="{6053209A-B088-41D2-81D0-2B4AE9B1E72E}"/>
              </a:ext>
            </a:extLst>
          </p:cNvPr>
          <p:cNvSpPr/>
          <p:nvPr/>
        </p:nvSpPr>
        <p:spPr>
          <a:xfrm>
            <a:off x="529541" y="1077814"/>
            <a:ext cx="356356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Innovation Intelligence</a:t>
            </a:r>
          </a:p>
        </p:txBody>
      </p:sp>
      <p:sp>
        <p:nvSpPr>
          <p:cNvPr id="98" name="Rettangolo 83">
            <a:extLst>
              <a:ext uri="{FF2B5EF4-FFF2-40B4-BE49-F238E27FC236}">
                <a16:creationId xmlns:a16="http://schemas.microsoft.com/office/drawing/2014/main" id="{AE29CE16-B078-4663-8075-094853689567}"/>
              </a:ext>
            </a:extLst>
          </p:cNvPr>
          <p:cNvSpPr/>
          <p:nvPr/>
        </p:nvSpPr>
        <p:spPr>
          <a:xfrm>
            <a:off x="529541" y="1490935"/>
            <a:ext cx="3725667" cy="20005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latin typeface="Century Gothic" panose="020B0502020202020204" pitchFamily="34" charset="0"/>
                <a:cs typeface="Arial" panose="020B0604020202020204" pitchFamily="34" charset="0"/>
              </a:rPr>
              <a:t>Individuazione ed interpretazione di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rend innovativi</a:t>
            </a: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viluppo di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rumenti e servizi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ticipare i nuovi scenari evolutivi </a:t>
            </a:r>
            <a:r>
              <a:rPr lang="it-IT" sz="1200">
                <a:latin typeface="Century Gothic" panose="020B0502020202020204" pitchFamily="34" charset="0"/>
                <a:cs typeface="Arial" panose="020B0604020202020204" pitchFamily="34" charset="0"/>
              </a:rPr>
              <a:t>(report, pubblicazioni e contenuti multimediali) con un approccio multidisciplinare</a:t>
            </a: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cerca, analisi e monitoraggio di tecnologie </a:t>
            </a:r>
            <a:r>
              <a:rPr lang="it-IT" sz="1200">
                <a:latin typeface="Century Gothic" panose="020B0502020202020204" pitchFamily="34" charset="0"/>
                <a:cs typeface="Arial" panose="020B0604020202020204" pitchFamily="34" charset="0"/>
              </a:rPr>
              <a:t>cross industry </a:t>
            </a: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endParaRPr lang="it-IT" sz="120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endParaRPr lang="it-IT" sz="1200" b="1">
              <a:solidFill>
                <a:srgbClr val="406B9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ttangolo 69">
            <a:extLst>
              <a:ext uri="{FF2B5EF4-FFF2-40B4-BE49-F238E27FC236}">
                <a16:creationId xmlns:a16="http://schemas.microsoft.com/office/drawing/2014/main" id="{DC9E9518-392B-452B-90A4-101B5609106A}"/>
              </a:ext>
            </a:extLst>
          </p:cNvPr>
          <p:cNvSpPr/>
          <p:nvPr/>
        </p:nvSpPr>
        <p:spPr>
          <a:xfrm>
            <a:off x="520648" y="3311993"/>
            <a:ext cx="40482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Framework Metodologici</a:t>
            </a:r>
          </a:p>
        </p:txBody>
      </p:sp>
      <p:sp>
        <p:nvSpPr>
          <p:cNvPr id="102" name="Rettangolo 87">
            <a:extLst>
              <a:ext uri="{FF2B5EF4-FFF2-40B4-BE49-F238E27FC236}">
                <a16:creationId xmlns:a16="http://schemas.microsoft.com/office/drawing/2014/main" id="{97301D49-AC4A-4E05-89CD-8B431BC9EC5E}"/>
              </a:ext>
            </a:extLst>
          </p:cNvPr>
          <p:cNvSpPr/>
          <p:nvPr/>
        </p:nvSpPr>
        <p:spPr>
          <a:xfrm>
            <a:off x="515938" y="3746645"/>
            <a:ext cx="3549625" cy="7771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uove metodologie e processi data-</a:t>
            </a:r>
            <a:r>
              <a:rPr lang="it-IT" sz="1200" b="1" err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riven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l’Innovation Trend Analysis</a:t>
            </a: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i regionali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ettoriali di innovazione</a:t>
            </a:r>
          </a:p>
        </p:txBody>
      </p:sp>
      <p:sp>
        <p:nvSpPr>
          <p:cNvPr id="106" name="Rettangolo 86">
            <a:extLst>
              <a:ext uri="{FF2B5EF4-FFF2-40B4-BE49-F238E27FC236}">
                <a16:creationId xmlns:a16="http://schemas.microsoft.com/office/drawing/2014/main" id="{F81B96EC-5F10-43CC-B95C-C09B192D5643}"/>
              </a:ext>
            </a:extLst>
          </p:cNvPr>
          <p:cNvSpPr>
            <a:spLocks/>
          </p:cNvSpPr>
          <p:nvPr/>
        </p:nvSpPr>
        <p:spPr>
          <a:xfrm>
            <a:off x="422128" y="5331424"/>
            <a:ext cx="42025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ustry trend report</a:t>
            </a:r>
            <a:endParaRPr lang="it-IT" sz="120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nografie dedicate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 trend rilevanti </a:t>
            </a: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sservatori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ll’Ecosistema di Innovazione</a:t>
            </a: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port Innovazione regionale e settoriale</a:t>
            </a: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novation News</a:t>
            </a:r>
            <a:endParaRPr lang="it-IT" sz="120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ttangolo 56">
            <a:extLst>
              <a:ext uri="{FF2B5EF4-FFF2-40B4-BE49-F238E27FC236}">
                <a16:creationId xmlns:a16="http://schemas.microsoft.com/office/drawing/2014/main" id="{32E3429A-FBB2-44A3-83C2-4431D57D4958}"/>
              </a:ext>
            </a:extLst>
          </p:cNvPr>
          <p:cNvSpPr>
            <a:spLocks/>
          </p:cNvSpPr>
          <p:nvPr/>
        </p:nvSpPr>
        <p:spPr>
          <a:xfrm>
            <a:off x="530340" y="4969661"/>
            <a:ext cx="3503992" cy="22564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Servizi di knowledge sharing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00" b="1">
              <a:solidFill>
                <a:srgbClr val="406B9B"/>
              </a:solidFill>
              <a:highlight>
                <a:srgbClr val="FFFF00"/>
              </a:highlight>
              <a:latin typeface="Century Gothic" panose="020B0502020202020204" pitchFamily="34" charset="0"/>
            </a:endParaRPr>
          </a:p>
        </p:txBody>
      </p:sp>
      <p:cxnSp>
        <p:nvCxnSpPr>
          <p:cNvPr id="15" name="Connettore 1 14"/>
          <p:cNvCxnSpPr>
            <a:cxnSpLocks/>
          </p:cNvCxnSpPr>
          <p:nvPr/>
        </p:nvCxnSpPr>
        <p:spPr>
          <a:xfrm>
            <a:off x="522043" y="1433702"/>
            <a:ext cx="3542636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ttore 1 61"/>
          <p:cNvCxnSpPr>
            <a:cxnSpLocks/>
          </p:cNvCxnSpPr>
          <p:nvPr/>
        </p:nvCxnSpPr>
        <p:spPr>
          <a:xfrm>
            <a:off x="525758" y="5302536"/>
            <a:ext cx="3606866" cy="16215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e 37">
            <a:extLst>
              <a:ext uri="{FF2B5EF4-FFF2-40B4-BE49-F238E27FC236}">
                <a16:creationId xmlns:a16="http://schemas.microsoft.com/office/drawing/2014/main" id="{4F879288-BDD2-4341-9351-B3660379D7FB}"/>
              </a:ext>
            </a:extLst>
          </p:cNvPr>
          <p:cNvSpPr/>
          <p:nvPr/>
        </p:nvSpPr>
        <p:spPr>
          <a:xfrm rot="200704">
            <a:off x="3746275" y="1329348"/>
            <a:ext cx="4847134" cy="4867501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ArchDown">
              <a:avLst/>
            </a:prstTxWarp>
            <a:noAutofit/>
          </a:bodyPr>
          <a:lstStyle/>
          <a:p>
            <a:pPr algn="ctr"/>
            <a:endParaRPr lang="it-IT" sz="1300" b="1">
              <a:solidFill>
                <a:schemeClr val="bg1"/>
              </a:solidFill>
            </a:endParaRPr>
          </a:p>
        </p:txBody>
      </p:sp>
      <p:sp>
        <p:nvSpPr>
          <p:cNvPr id="26" name="Rettangolo 83">
            <a:extLst>
              <a:ext uri="{FF2B5EF4-FFF2-40B4-BE49-F238E27FC236}">
                <a16:creationId xmlns:a16="http://schemas.microsoft.com/office/drawing/2014/main" id="{9277D157-F422-44A5-A3DB-871F3404AFCB}"/>
              </a:ext>
            </a:extLst>
          </p:cNvPr>
          <p:cNvSpPr/>
          <p:nvPr/>
        </p:nvSpPr>
        <p:spPr>
          <a:xfrm>
            <a:off x="617287" y="3481493"/>
            <a:ext cx="3725667" cy="2197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91551" marR="0" lvl="0" indent="-291551" algn="just" defTabSz="412754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tabLst/>
              <a:defRPr/>
            </a:pPr>
            <a:endParaRPr lang="it-IT" sz="1428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9BA7537D-B658-497A-91AE-A7A3F883D99A}"/>
              </a:ext>
            </a:extLst>
          </p:cNvPr>
          <p:cNvGrpSpPr/>
          <p:nvPr/>
        </p:nvGrpSpPr>
        <p:grpSpPr>
          <a:xfrm>
            <a:off x="4319629" y="1606557"/>
            <a:ext cx="4052288" cy="4069315"/>
            <a:chOff x="1225121" y="1263657"/>
            <a:chExt cx="4052288" cy="4069315"/>
          </a:xfrm>
        </p:grpSpPr>
        <p:sp>
          <p:nvSpPr>
            <p:cNvPr id="72" name="Arco a tutto sesto 71">
              <a:extLst>
                <a:ext uri="{FF2B5EF4-FFF2-40B4-BE49-F238E27FC236}">
                  <a16:creationId xmlns:a16="http://schemas.microsoft.com/office/drawing/2014/main" id="{16026530-7F81-4FBA-A1B8-45CB35DEFB58}"/>
                </a:ext>
              </a:extLst>
            </p:cNvPr>
            <p:cNvSpPr/>
            <p:nvPr/>
          </p:nvSpPr>
          <p:spPr>
            <a:xfrm rot="8779888">
              <a:off x="1748445" y="1841274"/>
              <a:ext cx="2968881" cy="2968881"/>
            </a:xfrm>
            <a:prstGeom prst="blockArc">
              <a:avLst>
                <a:gd name="adj1" fmla="val 17406132"/>
                <a:gd name="adj2" fmla="val 8661954"/>
                <a:gd name="adj3" fmla="val 6800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tx1"/>
                </a:solidFill>
              </a:endParaRPr>
            </a:p>
          </p:txBody>
        </p:sp>
        <p:sp>
          <p:nvSpPr>
            <p:cNvPr id="74" name="Ovale 73">
              <a:extLst>
                <a:ext uri="{FF2B5EF4-FFF2-40B4-BE49-F238E27FC236}">
                  <a16:creationId xmlns:a16="http://schemas.microsoft.com/office/drawing/2014/main" id="{A3351442-D0C1-423E-9BA0-EDFC6739C1FB}"/>
                </a:ext>
              </a:extLst>
            </p:cNvPr>
            <p:cNvSpPr/>
            <p:nvPr/>
          </p:nvSpPr>
          <p:spPr>
            <a:xfrm>
              <a:off x="2207504" y="2294697"/>
              <a:ext cx="2054444" cy="205444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4" name="Cerchio vuoto 83">
              <a:extLst>
                <a:ext uri="{FF2B5EF4-FFF2-40B4-BE49-F238E27FC236}">
                  <a16:creationId xmlns:a16="http://schemas.microsoft.com/office/drawing/2014/main" id="{F62EE658-67FD-4F0C-ACDF-C93106DA5EAA}"/>
                </a:ext>
              </a:extLst>
            </p:cNvPr>
            <p:cNvSpPr/>
            <p:nvPr/>
          </p:nvSpPr>
          <p:spPr>
            <a:xfrm>
              <a:off x="1992080" y="2080218"/>
              <a:ext cx="2485310" cy="2485310"/>
            </a:xfrm>
            <a:prstGeom prst="donut">
              <a:avLst>
                <a:gd name="adj" fmla="val 8542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tx1"/>
                </a:solidFill>
              </a:endParaRPr>
            </a:p>
          </p:txBody>
        </p:sp>
        <p:pic>
          <p:nvPicPr>
            <p:cNvPr id="86" name="Immagine 4">
              <a:extLst>
                <a:ext uri="{FF2B5EF4-FFF2-40B4-BE49-F238E27FC236}">
                  <a16:creationId xmlns:a16="http://schemas.microsoft.com/office/drawing/2014/main" id="{B927E752-C647-4DC6-B9B6-51DA6516DB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0941" y="2786347"/>
              <a:ext cx="1497012" cy="4792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Immagine 3">
              <a:extLst>
                <a:ext uri="{FF2B5EF4-FFF2-40B4-BE49-F238E27FC236}">
                  <a16:creationId xmlns:a16="http://schemas.microsoft.com/office/drawing/2014/main" id="{4FDFF55D-5E05-4757-82B1-B5F6ECD7A7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2976" y="3505368"/>
              <a:ext cx="1160820" cy="395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8" name="Ovale 87">
              <a:extLst>
                <a:ext uri="{FF2B5EF4-FFF2-40B4-BE49-F238E27FC236}">
                  <a16:creationId xmlns:a16="http://schemas.microsoft.com/office/drawing/2014/main" id="{89632AC0-9839-4E90-AD4F-C5D9D7A4A974}"/>
                </a:ext>
              </a:extLst>
            </p:cNvPr>
            <p:cNvSpPr/>
            <p:nvPr/>
          </p:nvSpPr>
          <p:spPr>
            <a:xfrm rot="1737423">
              <a:off x="1225121" y="1263657"/>
              <a:ext cx="4052288" cy="4069315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ArchDown">
                <a:avLst/>
              </a:prstTxWarp>
              <a:noAutofit/>
            </a:bodyPr>
            <a:lstStyle/>
            <a:p>
              <a:pPr algn="ctr"/>
              <a:r>
                <a:rPr lang="it-IT" sz="1200" b="1">
                  <a:solidFill>
                    <a:schemeClr val="bg1"/>
                  </a:solidFill>
                  <a:latin typeface="Century Gothic" panose="020B0502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INNOVATION INTELLIGENCE</a:t>
              </a:r>
              <a:endParaRPr lang="it-IT" sz="1200" b="1">
                <a:solidFill>
                  <a:schemeClr val="bg1"/>
                </a:solidFill>
              </a:endParaRPr>
            </a:p>
          </p:txBody>
        </p:sp>
      </p:grpSp>
      <p:sp>
        <p:nvSpPr>
          <p:cNvPr id="89" name="Rettangolo 71">
            <a:extLst>
              <a:ext uri="{FF2B5EF4-FFF2-40B4-BE49-F238E27FC236}">
                <a16:creationId xmlns:a16="http://schemas.microsoft.com/office/drawing/2014/main" id="{911BEAD2-B515-4E2D-8259-6816219E9BCF}"/>
              </a:ext>
            </a:extLst>
          </p:cNvPr>
          <p:cNvSpPr/>
          <p:nvPr/>
        </p:nvSpPr>
        <p:spPr>
          <a:xfrm>
            <a:off x="8285166" y="1074385"/>
            <a:ext cx="356356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Applied Research projects</a:t>
            </a:r>
          </a:p>
        </p:txBody>
      </p:sp>
      <p:sp>
        <p:nvSpPr>
          <p:cNvPr id="90" name="Rettangolo 83">
            <a:extLst>
              <a:ext uri="{FF2B5EF4-FFF2-40B4-BE49-F238E27FC236}">
                <a16:creationId xmlns:a16="http://schemas.microsoft.com/office/drawing/2014/main" id="{A510E326-DE69-40D4-8F44-A489E89D0AAD}"/>
              </a:ext>
            </a:extLst>
          </p:cNvPr>
          <p:cNvSpPr/>
          <p:nvPr/>
        </p:nvSpPr>
        <p:spPr>
          <a:xfrm>
            <a:off x="8319343" y="1515101"/>
            <a:ext cx="3554978" cy="15542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soluzione di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isogni complessi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l Gruppo          e di clienti esterni mediante un approccio multidisciplinare</a:t>
            </a:r>
          </a:p>
          <a:p>
            <a:pPr marL="291551" marR="0" lvl="0" indent="-291551" algn="l" defTabSz="412754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sempi di output generati: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Modelli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e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algoritmi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technical report, survey neuroscientifiche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validate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strategie di intervento, linee guida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it-IT" sz="1200">
              <a:solidFill>
                <a:srgbClr val="000000"/>
              </a:solidFill>
              <a:highlight>
                <a:srgbClr val="FFFF00"/>
              </a:highligh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1" name="Connettore 1 14">
            <a:extLst>
              <a:ext uri="{FF2B5EF4-FFF2-40B4-BE49-F238E27FC236}">
                <a16:creationId xmlns:a16="http://schemas.microsoft.com/office/drawing/2014/main" id="{8BA236D2-271B-4440-B1E1-400FD3D3660A}"/>
              </a:ext>
            </a:extLst>
          </p:cNvPr>
          <p:cNvCxnSpPr>
            <a:cxnSpLocks/>
          </p:cNvCxnSpPr>
          <p:nvPr/>
        </p:nvCxnSpPr>
        <p:spPr>
          <a:xfrm>
            <a:off x="8329461" y="1444335"/>
            <a:ext cx="3469431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ttangolo 70">
            <a:extLst>
              <a:ext uri="{FF2B5EF4-FFF2-40B4-BE49-F238E27FC236}">
                <a16:creationId xmlns:a16="http://schemas.microsoft.com/office/drawing/2014/main" id="{F5664BE2-05FB-4536-B319-327B3C9A7F3C}"/>
              </a:ext>
            </a:extLst>
          </p:cNvPr>
          <p:cNvSpPr>
            <a:spLocks/>
          </p:cNvSpPr>
          <p:nvPr/>
        </p:nvSpPr>
        <p:spPr>
          <a:xfrm>
            <a:off x="8322095" y="3298656"/>
            <a:ext cx="4045751" cy="3009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Valorizzazione e protezione</a:t>
            </a:r>
          </a:p>
        </p:txBody>
      </p:sp>
      <p:sp>
        <p:nvSpPr>
          <p:cNvPr id="96" name="Rettangolo 85">
            <a:extLst>
              <a:ext uri="{FF2B5EF4-FFF2-40B4-BE49-F238E27FC236}">
                <a16:creationId xmlns:a16="http://schemas.microsoft.com/office/drawing/2014/main" id="{FDED325A-7FB6-4D32-91B3-C9A2B88D92A8}"/>
              </a:ext>
            </a:extLst>
          </p:cNvPr>
          <p:cNvSpPr>
            <a:spLocks/>
          </p:cNvSpPr>
          <p:nvPr/>
        </p:nvSpPr>
        <p:spPr>
          <a:xfrm>
            <a:off x="8254859" y="3720504"/>
            <a:ext cx="3872336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alisi di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revettabilità </a:t>
            </a: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gli asset creati </a:t>
            </a: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alisi del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impatto di business</a:t>
            </a:r>
          </a:p>
          <a:p>
            <a:pPr marL="228382" indent="-228382" defTabSz="932962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dazione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ubblicazioni scientifiche </a:t>
            </a:r>
          </a:p>
        </p:txBody>
      </p:sp>
      <p:sp>
        <p:nvSpPr>
          <p:cNvPr id="100" name="Rettangolo 69">
            <a:extLst>
              <a:ext uri="{FF2B5EF4-FFF2-40B4-BE49-F238E27FC236}">
                <a16:creationId xmlns:a16="http://schemas.microsoft.com/office/drawing/2014/main" id="{AA924952-ABA9-41C4-9574-AEF1A193C077}"/>
              </a:ext>
            </a:extLst>
          </p:cNvPr>
          <p:cNvSpPr/>
          <p:nvPr/>
        </p:nvSpPr>
        <p:spPr>
          <a:xfrm>
            <a:off x="8317663" y="4964774"/>
            <a:ext cx="369775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>
                <a:solidFill>
                  <a:srgbClr val="406B9B"/>
                </a:solidFill>
                <a:latin typeface="Century Gothic" panose="020B0502020202020204" pitchFamily="34" charset="0"/>
              </a:rPr>
              <a:t>Sviluppo di nuove competenze</a:t>
            </a:r>
          </a:p>
        </p:txBody>
      </p:sp>
      <p:sp>
        <p:nvSpPr>
          <p:cNvPr id="103" name="Rettangolo 87">
            <a:extLst>
              <a:ext uri="{FF2B5EF4-FFF2-40B4-BE49-F238E27FC236}">
                <a16:creationId xmlns:a16="http://schemas.microsoft.com/office/drawing/2014/main" id="{497A02F9-85E3-4110-8750-5D34D4C0286E}"/>
              </a:ext>
            </a:extLst>
          </p:cNvPr>
          <p:cNvSpPr/>
          <p:nvPr/>
        </p:nvSpPr>
        <p:spPr>
          <a:xfrm>
            <a:off x="8317662" y="5357551"/>
            <a:ext cx="3688234" cy="592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cquisizione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uove competenze </a:t>
            </a:r>
            <a:r>
              <a:rPr lang="it-IT" sz="1200">
                <a:latin typeface="Century Gothic" panose="020B0502020202020204" pitchFamily="34" charset="0"/>
                <a:cs typeface="Arial" panose="020B0604020202020204" pitchFamily="34" charset="0"/>
              </a:rPr>
              <a:t>all’interno del gruppo di ricerca </a:t>
            </a:r>
          </a:p>
          <a:p>
            <a:pPr marL="291551" indent="-291551" defTabSz="412754" fontAlgn="base">
              <a:spcBef>
                <a:spcPts val="306"/>
              </a:spcBef>
              <a:spcAft>
                <a:spcPct val="0"/>
              </a:spcAft>
              <a:buClr>
                <a:srgbClr val="003A79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it-IT" sz="1200">
                <a:latin typeface="Century Gothic" panose="020B0502020202020204" pitchFamily="34" charset="0"/>
                <a:cs typeface="Arial" panose="020B0604020202020204" pitchFamily="34" charset="0"/>
              </a:rPr>
              <a:t>Organizzazione </a:t>
            </a:r>
            <a:r>
              <a:rPr lang="it-IT" sz="1200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minari tecnici e divulgativi</a:t>
            </a:r>
          </a:p>
        </p:txBody>
      </p:sp>
      <p:cxnSp>
        <p:nvCxnSpPr>
          <p:cNvPr id="111" name="Connettore 1 14">
            <a:extLst>
              <a:ext uri="{FF2B5EF4-FFF2-40B4-BE49-F238E27FC236}">
                <a16:creationId xmlns:a16="http://schemas.microsoft.com/office/drawing/2014/main" id="{7F951EEB-5381-46FD-B2B9-439AD8E0DF3E}"/>
              </a:ext>
            </a:extLst>
          </p:cNvPr>
          <p:cNvCxnSpPr>
            <a:cxnSpLocks/>
          </p:cNvCxnSpPr>
          <p:nvPr/>
        </p:nvCxnSpPr>
        <p:spPr>
          <a:xfrm flipV="1">
            <a:off x="527586" y="3634991"/>
            <a:ext cx="3488150" cy="255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ttore 1 14">
            <a:extLst>
              <a:ext uri="{FF2B5EF4-FFF2-40B4-BE49-F238E27FC236}">
                <a16:creationId xmlns:a16="http://schemas.microsoft.com/office/drawing/2014/main" id="{CBC5C212-40FB-4AC2-B604-47D0545674E5}"/>
              </a:ext>
            </a:extLst>
          </p:cNvPr>
          <p:cNvCxnSpPr>
            <a:cxnSpLocks/>
          </p:cNvCxnSpPr>
          <p:nvPr/>
        </p:nvCxnSpPr>
        <p:spPr>
          <a:xfrm>
            <a:off x="8329461" y="3629481"/>
            <a:ext cx="3469431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ttore 1 14">
            <a:extLst>
              <a:ext uri="{FF2B5EF4-FFF2-40B4-BE49-F238E27FC236}">
                <a16:creationId xmlns:a16="http://schemas.microsoft.com/office/drawing/2014/main" id="{4FF615FA-56F8-47BA-91A9-332E085E347D}"/>
              </a:ext>
            </a:extLst>
          </p:cNvPr>
          <p:cNvCxnSpPr>
            <a:cxnSpLocks/>
          </p:cNvCxnSpPr>
          <p:nvPr/>
        </p:nvCxnSpPr>
        <p:spPr>
          <a:xfrm>
            <a:off x="8329461" y="5289055"/>
            <a:ext cx="3469431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vale 129">
            <a:extLst>
              <a:ext uri="{FF2B5EF4-FFF2-40B4-BE49-F238E27FC236}">
                <a16:creationId xmlns:a16="http://schemas.microsoft.com/office/drawing/2014/main" id="{41C0F04C-74CC-472A-98ED-93418D8CD64C}"/>
              </a:ext>
            </a:extLst>
          </p:cNvPr>
          <p:cNvSpPr/>
          <p:nvPr/>
        </p:nvSpPr>
        <p:spPr>
          <a:xfrm>
            <a:off x="7063850" y="2076017"/>
            <a:ext cx="444460" cy="444460"/>
          </a:xfrm>
          <a:prstGeom prst="ellipse">
            <a:avLst/>
          </a:prstGeom>
          <a:solidFill>
            <a:srgbClr val="2E5D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sp>
        <p:nvSpPr>
          <p:cNvPr id="131" name="Ovale 130">
            <a:extLst>
              <a:ext uri="{FF2B5EF4-FFF2-40B4-BE49-F238E27FC236}">
                <a16:creationId xmlns:a16="http://schemas.microsoft.com/office/drawing/2014/main" id="{DC82BD7E-7C90-4C9F-900B-A4C4A94353D1}"/>
              </a:ext>
            </a:extLst>
          </p:cNvPr>
          <p:cNvSpPr/>
          <p:nvPr/>
        </p:nvSpPr>
        <p:spPr>
          <a:xfrm>
            <a:off x="7690952" y="3390676"/>
            <a:ext cx="444460" cy="444460"/>
          </a:xfrm>
          <a:prstGeom prst="ellipse">
            <a:avLst/>
          </a:prstGeom>
          <a:solidFill>
            <a:srgbClr val="2E5D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sp>
        <p:nvSpPr>
          <p:cNvPr id="132" name="Ovale 131">
            <a:extLst>
              <a:ext uri="{FF2B5EF4-FFF2-40B4-BE49-F238E27FC236}">
                <a16:creationId xmlns:a16="http://schemas.microsoft.com/office/drawing/2014/main" id="{724947B9-D95B-4AD5-A7AC-583C177DDE05}"/>
              </a:ext>
            </a:extLst>
          </p:cNvPr>
          <p:cNvSpPr/>
          <p:nvPr/>
        </p:nvSpPr>
        <p:spPr>
          <a:xfrm>
            <a:off x="7353955" y="4573033"/>
            <a:ext cx="444460" cy="444460"/>
          </a:xfrm>
          <a:prstGeom prst="ellipse">
            <a:avLst/>
          </a:prstGeom>
          <a:solidFill>
            <a:srgbClr val="2E5D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pic>
        <p:nvPicPr>
          <p:cNvPr id="44" name="Picture 12" descr="https://static.thenounproject.com/png/432281-200.png">
            <a:extLst>
              <a:ext uri="{FF2B5EF4-FFF2-40B4-BE49-F238E27FC236}">
                <a16:creationId xmlns:a16="http://schemas.microsoft.com/office/drawing/2014/main" id="{FC1ECF93-7A1D-4B90-99ED-93542A16B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6633" y="2152933"/>
            <a:ext cx="286945" cy="286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Ovale 132">
            <a:extLst>
              <a:ext uri="{FF2B5EF4-FFF2-40B4-BE49-F238E27FC236}">
                <a16:creationId xmlns:a16="http://schemas.microsoft.com/office/drawing/2014/main" id="{5A5B35BE-5D94-49D1-853B-93CC48E03227}"/>
              </a:ext>
            </a:extLst>
          </p:cNvPr>
          <p:cNvSpPr/>
          <p:nvPr/>
        </p:nvSpPr>
        <p:spPr>
          <a:xfrm>
            <a:off x="4834814" y="2083457"/>
            <a:ext cx="444460" cy="444460"/>
          </a:xfrm>
          <a:prstGeom prst="ellipse">
            <a:avLst/>
          </a:prstGeom>
          <a:solidFill>
            <a:srgbClr val="002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sp>
        <p:nvSpPr>
          <p:cNvPr id="134" name="Ovale 133">
            <a:extLst>
              <a:ext uri="{FF2B5EF4-FFF2-40B4-BE49-F238E27FC236}">
                <a16:creationId xmlns:a16="http://schemas.microsoft.com/office/drawing/2014/main" id="{4B1A1328-F54C-4552-BE6D-E73B42C8C072}"/>
              </a:ext>
            </a:extLst>
          </p:cNvPr>
          <p:cNvSpPr/>
          <p:nvPr/>
        </p:nvSpPr>
        <p:spPr>
          <a:xfrm>
            <a:off x="4296660" y="3406418"/>
            <a:ext cx="444460" cy="444460"/>
          </a:xfrm>
          <a:prstGeom prst="ellipse">
            <a:avLst/>
          </a:prstGeom>
          <a:solidFill>
            <a:srgbClr val="002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sp>
        <p:nvSpPr>
          <p:cNvPr id="135" name="Ovale 134">
            <a:extLst>
              <a:ext uri="{FF2B5EF4-FFF2-40B4-BE49-F238E27FC236}">
                <a16:creationId xmlns:a16="http://schemas.microsoft.com/office/drawing/2014/main" id="{63CC60AB-9F0B-42A4-AF5F-41AF8D0574FF}"/>
              </a:ext>
            </a:extLst>
          </p:cNvPr>
          <p:cNvSpPr/>
          <p:nvPr/>
        </p:nvSpPr>
        <p:spPr>
          <a:xfrm>
            <a:off x="4665342" y="4570535"/>
            <a:ext cx="444460" cy="444460"/>
          </a:xfrm>
          <a:prstGeom prst="ellipse">
            <a:avLst/>
          </a:prstGeom>
          <a:solidFill>
            <a:srgbClr val="0022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</a:endParaRPr>
          </a:p>
        </p:txBody>
      </p:sp>
      <p:pic>
        <p:nvPicPr>
          <p:cNvPr id="51" name="Immagine 50">
            <a:extLst>
              <a:ext uri="{FF2B5EF4-FFF2-40B4-BE49-F238E27FC236}">
                <a16:creationId xmlns:a16="http://schemas.microsoft.com/office/drawing/2014/main" id="{C813089C-436D-4444-9967-9931DE45553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4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1208" y="4648144"/>
            <a:ext cx="305645" cy="305645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60C6DFDC-748A-4820-B571-206A13B28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23979" y="3415714"/>
            <a:ext cx="395541" cy="394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Immagine 136">
            <a:extLst>
              <a:ext uri="{FF2B5EF4-FFF2-40B4-BE49-F238E27FC236}">
                <a16:creationId xmlns:a16="http://schemas.microsoft.com/office/drawing/2014/main" id="{65403E7C-CB5D-468C-8797-6994029EC0D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4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1150" y="4648144"/>
            <a:ext cx="305645" cy="3056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B7FF81CA-E206-488B-B029-3EC39F36C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16429" y="3415714"/>
            <a:ext cx="395541" cy="3942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" name="Picture 2">
            <a:extLst>
              <a:ext uri="{FF2B5EF4-FFF2-40B4-BE49-F238E27FC236}">
                <a16:creationId xmlns:a16="http://schemas.microsoft.com/office/drawing/2014/main" id="{2F38894F-26ED-4E4F-AE53-C2D7C3046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1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873165" y="2127970"/>
            <a:ext cx="366976" cy="366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797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" name="image17.jpe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71" r="5439"/>
          <a:stretch/>
        </p:blipFill>
        <p:spPr>
          <a:xfrm>
            <a:off x="4642201" y="0"/>
            <a:ext cx="7549710" cy="6200504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21548D9A-EF28-F44B-8B6D-55B1C9556FC1}"/>
              </a:ext>
            </a:extLst>
          </p:cNvPr>
          <p:cNvSpPr/>
          <p:nvPr/>
        </p:nvSpPr>
        <p:spPr>
          <a:xfrm>
            <a:off x="4609620" y="-7658"/>
            <a:ext cx="6090048" cy="6317439"/>
          </a:xfrm>
          <a:prstGeom prst="rect">
            <a:avLst/>
          </a:prstGeom>
          <a:gradFill>
            <a:gsLst>
              <a:gs pos="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TextBox 43">
            <a:extLst>
              <a:ext uri="{FF2B5EF4-FFF2-40B4-BE49-F238E27FC236}">
                <a16:creationId xmlns:a16="http://schemas.microsoft.com/office/drawing/2014/main" id="{A6B64F35-5342-46FE-9BCF-94C85A9B8B63}"/>
              </a:ext>
            </a:extLst>
          </p:cNvPr>
          <p:cNvSpPr txBox="1"/>
          <p:nvPr/>
        </p:nvSpPr>
        <p:spPr bwMode="gray">
          <a:xfrm>
            <a:off x="992459" y="1152543"/>
            <a:ext cx="5716349" cy="415103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20000"/>
              </a:lnSpc>
              <a:spcBef>
                <a:spcPts val="1224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tesa Sanpaolo Innovation Center </a:t>
            </a:r>
            <a:b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è la società del Gruppo Intesa Sanpaolo dedicata all’</a:t>
            </a:r>
            <a:r>
              <a:rPr kumimoji="0" lang="it-IT" sz="1840" b="1" i="1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novazione di frontiera</a:t>
            </a:r>
            <a:r>
              <a:rPr kumimoji="0" lang="it-IT" sz="184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</a:t>
            </a: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</a:p>
          <a:p>
            <a:pPr marL="0" marR="0" lvl="0" indent="0" algn="l" defTabSz="913526" rtl="0" eaLnBrk="1" fontAlgn="base" latinLnBrk="0" hangingPunct="1">
              <a:lnSpc>
                <a:spcPct val="120000"/>
              </a:lnSpc>
              <a:spcBef>
                <a:spcPts val="1224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splora scenari e trend futuri, sviluppa progetti multidisciplinari di ricerca applicata, supporta startup, accelera la business </a:t>
            </a:r>
            <a:r>
              <a:rPr kumimoji="0" lang="it-IT" sz="184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nsformation</a:t>
            </a: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delle imprese secondo i criteri dell’Open Innovation e della </a:t>
            </a:r>
            <a:r>
              <a:rPr kumimoji="0" lang="it-IT" sz="184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ircular</a:t>
            </a: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Economy, favorisce lo sviluppo di ecosistemi innovativi e diffonde la cultura dell’innovazione, per fare di Intesa Sanpaolo la forza trainante di </a:t>
            </a:r>
            <a:r>
              <a:rPr kumimoji="0" lang="it-IT" sz="1840" b="1" i="1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un’economia più consapevole, inclusiva e sostenibile</a:t>
            </a:r>
            <a:r>
              <a:rPr kumimoji="0" lang="it-IT" sz="184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</a:t>
            </a:r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 rot="10800000">
            <a:off x="6514558" y="5205013"/>
            <a:ext cx="449750" cy="449750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ED8D72E-38BD-8B4B-B035-9BD76B6CD05C}"/>
              </a:ext>
            </a:extLst>
          </p:cNvPr>
          <p:cNvSpPr>
            <a:spLocks/>
          </p:cNvSpPr>
          <p:nvPr/>
        </p:nvSpPr>
        <p:spPr bwMode="auto">
          <a:xfrm>
            <a:off x="463042" y="622177"/>
            <a:ext cx="664095" cy="664095"/>
          </a:xfrm>
          <a:custGeom>
            <a:avLst/>
            <a:gdLst>
              <a:gd name="T0" fmla="*/ 410 w 410"/>
              <a:gd name="T1" fmla="*/ 0 h 410"/>
              <a:gd name="T2" fmla="*/ 105 w 410"/>
              <a:gd name="T3" fmla="*/ 0 h 410"/>
              <a:gd name="T4" fmla="*/ 0 w 410"/>
              <a:gd name="T5" fmla="*/ 0 h 410"/>
              <a:gd name="T6" fmla="*/ 0 w 410"/>
              <a:gd name="T7" fmla="*/ 104 h 410"/>
              <a:gd name="T8" fmla="*/ 0 w 410"/>
              <a:gd name="T9" fmla="*/ 410 h 410"/>
              <a:gd name="T10" fmla="*/ 105 w 410"/>
              <a:gd name="T11" fmla="*/ 410 h 410"/>
              <a:gd name="T12" fmla="*/ 105 w 410"/>
              <a:gd name="T13" fmla="*/ 104 h 410"/>
              <a:gd name="T14" fmla="*/ 410 w 410"/>
              <a:gd name="T15" fmla="*/ 104 h 410"/>
              <a:gd name="T16" fmla="*/ 410 w 410"/>
              <a:gd name="T17" fmla="*/ 0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0" h="410">
                <a:moveTo>
                  <a:pt x="410" y="0"/>
                </a:moveTo>
                <a:lnTo>
                  <a:pt x="105" y="0"/>
                </a:lnTo>
                <a:lnTo>
                  <a:pt x="0" y="0"/>
                </a:lnTo>
                <a:lnTo>
                  <a:pt x="0" y="104"/>
                </a:lnTo>
                <a:lnTo>
                  <a:pt x="0" y="410"/>
                </a:lnTo>
                <a:lnTo>
                  <a:pt x="105" y="410"/>
                </a:lnTo>
                <a:lnTo>
                  <a:pt x="105" y="104"/>
                </a:lnTo>
                <a:lnTo>
                  <a:pt x="410" y="104"/>
                </a:lnTo>
                <a:lnTo>
                  <a:pt x="410" y="0"/>
                </a:lnTo>
                <a:close/>
              </a:path>
            </a:pathLst>
          </a:custGeom>
          <a:solidFill>
            <a:srgbClr val="406B9B"/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2936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3E714940-AA5B-452A-B9E7-503554E80C8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7" r="5267"/>
          <a:stretch/>
        </p:blipFill>
        <p:spPr>
          <a:xfrm>
            <a:off x="1543670" y="4439271"/>
            <a:ext cx="2553766" cy="135655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A80E63C-2F13-4968-829D-1AB4577E0A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38" r="4773" b="1194"/>
          <a:stretch/>
        </p:blipFill>
        <p:spPr>
          <a:xfrm>
            <a:off x="4216667" y="1526223"/>
            <a:ext cx="2545626" cy="1319759"/>
          </a:xfrm>
          <a:prstGeom prst="rect">
            <a:avLst/>
          </a:prstGeom>
        </p:spPr>
      </p:pic>
      <p:pic>
        <p:nvPicPr>
          <p:cNvPr id="50" name="Immagine 49">
            <a:extLst>
              <a:ext uri="{FF2B5EF4-FFF2-40B4-BE49-F238E27FC236}">
                <a16:creationId xmlns:a16="http://schemas.microsoft.com/office/drawing/2014/main" id="{2CA2D930-CE3B-437E-9EBA-D9761614C7E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574"/>
          <a:stretch/>
        </p:blipFill>
        <p:spPr>
          <a:xfrm>
            <a:off x="1551809" y="2973446"/>
            <a:ext cx="2545627" cy="1346629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2033ADFF-3A35-4279-95FD-7F1229C8786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977"/>
          <a:stretch/>
        </p:blipFill>
        <p:spPr>
          <a:xfrm>
            <a:off x="4208527" y="2973446"/>
            <a:ext cx="2543144" cy="1350913"/>
          </a:xfrm>
          <a:prstGeom prst="rect">
            <a:avLst/>
          </a:prstGeom>
        </p:spPr>
      </p:pic>
      <p:sp>
        <p:nvSpPr>
          <p:cNvPr id="10243" name="Titolo 1">
            <a:extLst>
              <a:ext uri="{FF2B5EF4-FFF2-40B4-BE49-F238E27FC236}">
                <a16:creationId xmlns:a16="http://schemas.microsoft.com/office/drawing/2014/main" id="{A93A1F71-FD7F-4C4C-904A-2B2D490C7D4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/>
              <a:t>Seminari di Applied </a:t>
            </a:r>
            <a:r>
              <a:rPr lang="it-IT" altLang="it-IT" err="1"/>
              <a:t>Research</a:t>
            </a:r>
            <a:endParaRPr lang="it-IT" altLang="it-IT"/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076F2974-4927-4D74-91FD-02EEE7FA9ABA}"/>
              </a:ext>
            </a:extLst>
          </p:cNvPr>
          <p:cNvSpPr/>
          <p:nvPr/>
        </p:nvSpPr>
        <p:spPr>
          <a:xfrm>
            <a:off x="1096779" y="1311761"/>
            <a:ext cx="176796" cy="176796"/>
          </a:xfrm>
          <a:prstGeom prst="ellipse">
            <a:avLst/>
          </a:prstGeom>
          <a:solidFill>
            <a:srgbClr val="052256"/>
          </a:solidFill>
          <a:ln w="9525">
            <a:solidFill>
              <a:srgbClr val="0522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28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C6240C5-0FE0-44DF-819D-619513F46193}"/>
              </a:ext>
            </a:extLst>
          </p:cNvPr>
          <p:cNvSpPr/>
          <p:nvPr/>
        </p:nvSpPr>
        <p:spPr>
          <a:xfrm>
            <a:off x="1096779" y="5831093"/>
            <a:ext cx="176796" cy="176796"/>
          </a:xfrm>
          <a:prstGeom prst="ellipse">
            <a:avLst/>
          </a:prstGeom>
          <a:solidFill>
            <a:srgbClr val="052256"/>
          </a:solidFill>
          <a:ln w="9525">
            <a:solidFill>
              <a:srgbClr val="0522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28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04ED04AE-E35C-4E3D-ACE2-AC0362BF17C5}"/>
              </a:ext>
            </a:extLst>
          </p:cNvPr>
          <p:cNvSpPr txBox="1"/>
          <p:nvPr/>
        </p:nvSpPr>
        <p:spPr>
          <a:xfrm>
            <a:off x="875822" y="997731"/>
            <a:ext cx="713449" cy="312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altLang="it-IT" sz="1428" b="1">
                <a:solidFill>
                  <a:srgbClr val="052256"/>
                </a:solidFill>
                <a:latin typeface="Century Gothic"/>
                <a:ea typeface="MS PGothic"/>
              </a:rPr>
              <a:t>2020</a:t>
            </a:r>
            <a:endParaRPr lang="it-IT" sz="1428">
              <a:solidFill>
                <a:srgbClr val="052256"/>
              </a:solidFill>
            </a:endParaRP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0A97E3E4-24E3-4DA7-ADCF-77EF1DA4A18A}"/>
              </a:ext>
            </a:extLst>
          </p:cNvPr>
          <p:cNvSpPr txBox="1"/>
          <p:nvPr/>
        </p:nvSpPr>
        <p:spPr>
          <a:xfrm>
            <a:off x="811272" y="6003570"/>
            <a:ext cx="835291" cy="312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altLang="it-IT" sz="1428" b="1">
                <a:solidFill>
                  <a:srgbClr val="052256"/>
                </a:solidFill>
                <a:latin typeface="Century Gothic"/>
                <a:ea typeface="MS PGothic"/>
              </a:rPr>
              <a:t>OGGI</a:t>
            </a:r>
            <a:endParaRPr lang="it-IT" sz="1428">
              <a:solidFill>
                <a:srgbClr val="052256"/>
              </a:solidFill>
            </a:endParaRPr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ACEC960D-DADC-4E2F-A474-9F15185A2E44}"/>
              </a:ext>
            </a:extLst>
          </p:cNvPr>
          <p:cNvCxnSpPr>
            <a:cxnSpLocks/>
          </p:cNvCxnSpPr>
          <p:nvPr/>
        </p:nvCxnSpPr>
        <p:spPr>
          <a:xfrm>
            <a:off x="1184591" y="1475013"/>
            <a:ext cx="0" cy="4425401"/>
          </a:xfrm>
          <a:prstGeom prst="line">
            <a:avLst/>
          </a:prstGeom>
          <a:ln w="12700">
            <a:solidFill>
              <a:srgbClr val="052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e 39">
            <a:extLst>
              <a:ext uri="{FF2B5EF4-FFF2-40B4-BE49-F238E27FC236}">
                <a16:creationId xmlns:a16="http://schemas.microsoft.com/office/drawing/2014/main" id="{0955C3E0-8783-4419-8304-E653AB766C5B}"/>
              </a:ext>
            </a:extLst>
          </p:cNvPr>
          <p:cNvSpPr/>
          <p:nvPr/>
        </p:nvSpPr>
        <p:spPr>
          <a:xfrm>
            <a:off x="303923" y="3083260"/>
            <a:ext cx="612000" cy="612000"/>
          </a:xfrm>
          <a:prstGeom prst="ellipse">
            <a:avLst/>
          </a:prstGeom>
          <a:noFill/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>
                <a:solidFill>
                  <a:schemeClr val="tx2"/>
                </a:solidFill>
                <a:latin typeface="Century Gothic" panose="020B0502020202020204" pitchFamily="34" charset="0"/>
              </a:rPr>
              <a:t>106</a:t>
            </a:r>
            <a:endParaRPr lang="it-IT" sz="1123" b="1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3F05812F-9902-4923-B672-91B97C9B0BD4}"/>
              </a:ext>
            </a:extLst>
          </p:cNvPr>
          <p:cNvGrpSpPr/>
          <p:nvPr/>
        </p:nvGrpSpPr>
        <p:grpSpPr>
          <a:xfrm>
            <a:off x="347629" y="3821711"/>
            <a:ext cx="528000" cy="513613"/>
            <a:chOff x="9370965" y="2852068"/>
            <a:chExt cx="908276" cy="853739"/>
          </a:xfrm>
        </p:grpSpPr>
        <p:sp>
          <p:nvSpPr>
            <p:cNvPr id="43" name="Ovale 42">
              <a:extLst>
                <a:ext uri="{FF2B5EF4-FFF2-40B4-BE49-F238E27FC236}">
                  <a16:creationId xmlns:a16="http://schemas.microsoft.com/office/drawing/2014/main" id="{D734B258-738F-4AF1-ABB2-102027793E4F}"/>
                </a:ext>
              </a:extLst>
            </p:cNvPr>
            <p:cNvSpPr/>
            <p:nvPr/>
          </p:nvSpPr>
          <p:spPr>
            <a:xfrm>
              <a:off x="9392929" y="2852068"/>
              <a:ext cx="853740" cy="853739"/>
            </a:xfrm>
            <a:prstGeom prst="ellipse">
              <a:avLst/>
            </a:prstGeom>
            <a:solidFill>
              <a:schemeClr val="tx2"/>
            </a:solidFill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123" b="1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4" name="Elemento grafico 43">
              <a:extLst>
                <a:ext uri="{FF2B5EF4-FFF2-40B4-BE49-F238E27FC236}">
                  <a16:creationId xmlns:a16="http://schemas.microsoft.com/office/drawing/2014/main" id="{21FE36E3-A788-4C58-8542-A114B39E82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21805"/>
            <a:stretch/>
          </p:blipFill>
          <p:spPr>
            <a:xfrm>
              <a:off x="9370965" y="2923825"/>
              <a:ext cx="908276" cy="710229"/>
            </a:xfrm>
            <a:prstGeom prst="rect">
              <a:avLst/>
            </a:prstGeom>
          </p:spPr>
        </p:pic>
      </p:grpSp>
      <p:pic>
        <p:nvPicPr>
          <p:cNvPr id="11" name="Immagine 10">
            <a:extLst>
              <a:ext uri="{FF2B5EF4-FFF2-40B4-BE49-F238E27FC236}">
                <a16:creationId xmlns:a16="http://schemas.microsoft.com/office/drawing/2014/main" id="{CD189A69-12CA-458D-AFF6-830930B20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670" y="1526223"/>
            <a:ext cx="2545627" cy="1322190"/>
          </a:xfrm>
          <a:prstGeom prst="rect">
            <a:avLst/>
          </a:prstGeom>
        </p:spPr>
      </p:pic>
      <p:pic>
        <p:nvPicPr>
          <p:cNvPr id="47" name="Immagine 46">
            <a:extLst>
              <a:ext uri="{FF2B5EF4-FFF2-40B4-BE49-F238E27FC236}">
                <a16:creationId xmlns:a16="http://schemas.microsoft.com/office/drawing/2014/main" id="{152D76B0-DA32-4A54-A2FB-6449FE2EDC1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061"/>
          <a:stretch/>
        </p:blipFill>
        <p:spPr>
          <a:xfrm>
            <a:off x="4216666" y="4439271"/>
            <a:ext cx="2535005" cy="1338126"/>
          </a:xfrm>
          <a:prstGeom prst="rect">
            <a:avLst/>
          </a:prstGeom>
        </p:spPr>
      </p:pic>
      <p:pic>
        <p:nvPicPr>
          <p:cNvPr id="58" name="Immagine 57">
            <a:extLst>
              <a:ext uri="{FF2B5EF4-FFF2-40B4-BE49-F238E27FC236}">
                <a16:creationId xmlns:a16="http://schemas.microsoft.com/office/drawing/2014/main" id="{60C5D517-FD97-49DE-B564-CB15C91C747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757" b="2038"/>
          <a:stretch/>
        </p:blipFill>
        <p:spPr>
          <a:xfrm>
            <a:off x="9395986" y="4439271"/>
            <a:ext cx="2486603" cy="1336638"/>
          </a:xfrm>
          <a:prstGeom prst="rect">
            <a:avLst/>
          </a:prstGeom>
        </p:spPr>
      </p:pic>
      <p:pic>
        <p:nvPicPr>
          <p:cNvPr id="59" name="Immagine 58">
            <a:extLst>
              <a:ext uri="{FF2B5EF4-FFF2-40B4-BE49-F238E27FC236}">
                <a16:creationId xmlns:a16="http://schemas.microsoft.com/office/drawing/2014/main" id="{49936F37-2E41-4999-932E-8B904274FD9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4831" b="7641"/>
          <a:stretch/>
        </p:blipFill>
        <p:spPr>
          <a:xfrm>
            <a:off x="9388017" y="1526223"/>
            <a:ext cx="2494572" cy="1336637"/>
          </a:xfrm>
          <a:prstGeom prst="rect">
            <a:avLst/>
          </a:prstGeom>
        </p:spPr>
      </p:pic>
      <p:pic>
        <p:nvPicPr>
          <p:cNvPr id="60" name="Immagine 59">
            <a:extLst>
              <a:ext uri="{FF2B5EF4-FFF2-40B4-BE49-F238E27FC236}">
                <a16:creationId xmlns:a16="http://schemas.microsoft.com/office/drawing/2014/main" id="{512A8A91-4A90-4922-B127-924897D67659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1059" b="2296"/>
          <a:stretch/>
        </p:blipFill>
        <p:spPr>
          <a:xfrm>
            <a:off x="9388017" y="2973446"/>
            <a:ext cx="2486603" cy="1346628"/>
          </a:xfrm>
          <a:prstGeom prst="rect">
            <a:avLst/>
          </a:prstGeom>
        </p:spPr>
      </p:pic>
      <p:pic>
        <p:nvPicPr>
          <p:cNvPr id="61" name="Immagine 60">
            <a:extLst>
              <a:ext uri="{FF2B5EF4-FFF2-40B4-BE49-F238E27FC236}">
                <a16:creationId xmlns:a16="http://schemas.microsoft.com/office/drawing/2014/main" id="{CE6705E5-3451-444F-9B72-54FC88829E7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62762" y="1526223"/>
            <a:ext cx="2432755" cy="1336637"/>
          </a:xfrm>
          <a:prstGeom prst="rect">
            <a:avLst/>
          </a:prstGeom>
        </p:spPr>
      </p:pic>
      <p:pic>
        <p:nvPicPr>
          <p:cNvPr id="62" name="Immagine 61">
            <a:extLst>
              <a:ext uri="{FF2B5EF4-FFF2-40B4-BE49-F238E27FC236}">
                <a16:creationId xmlns:a16="http://schemas.microsoft.com/office/drawing/2014/main" id="{093E207A-08BE-4229-9BAE-5BA8F30B75E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62763" y="2973446"/>
            <a:ext cx="2424456" cy="1347938"/>
          </a:xfrm>
          <a:prstGeom prst="rect">
            <a:avLst/>
          </a:prstGeom>
        </p:spPr>
      </p:pic>
      <p:pic>
        <p:nvPicPr>
          <p:cNvPr id="64" name="Immagine 63">
            <a:extLst>
              <a:ext uri="{FF2B5EF4-FFF2-40B4-BE49-F238E27FC236}">
                <a16:creationId xmlns:a16="http://schemas.microsoft.com/office/drawing/2014/main" id="{EB0EC922-5BB0-41B2-9449-DAB75C565BC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62762" y="4439271"/>
            <a:ext cx="2424456" cy="1345702"/>
          </a:xfrm>
          <a:prstGeom prst="rect">
            <a:avLst/>
          </a:prstGeom>
        </p:spPr>
      </p:pic>
      <p:sp>
        <p:nvSpPr>
          <p:cNvPr id="26" name="CasellaDiTesto 14">
            <a:extLst>
              <a:ext uri="{FF2B5EF4-FFF2-40B4-BE49-F238E27FC236}">
                <a16:creationId xmlns:a16="http://schemas.microsoft.com/office/drawing/2014/main" id="{629AB723-AB64-4217-9C52-4E9207834959}"/>
              </a:ext>
            </a:extLst>
          </p:cNvPr>
          <p:cNvSpPr txBox="1"/>
          <p:nvPr/>
        </p:nvSpPr>
        <p:spPr>
          <a:xfrm>
            <a:off x="535547" y="6601464"/>
            <a:ext cx="2665282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42" marR="0" lvl="0" indent="-82934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it-IT" sz="102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</a:rPr>
              <a:t>Dati dal 2020 al 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  <a:ea typeface="Open Sans"/>
                <a:cs typeface="Open Sans"/>
              </a:rPr>
              <a:t>30/06/</a:t>
            </a:r>
            <a:r>
              <a:rPr kumimoji="0" lang="it-IT" sz="102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Open Sans"/>
                <a:cs typeface="Open Sans"/>
                <a:sym typeface="Century Gothic" panose="020B0502020202020204" pitchFamily="34" charset="0"/>
              </a:rPr>
              <a:t>2023</a:t>
            </a:r>
            <a:endParaRPr kumimoji="0" lang="it-IT" sz="102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344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49" b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542165" y="374162"/>
            <a:ext cx="10573695" cy="3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lnSpc>
                <a:spcPct val="90000"/>
              </a:lnSpc>
              <a:tabLst/>
            </a:pPr>
            <a:r>
              <a:rPr lang="it-IT"/>
              <a:t>La partnership con Ellen MacArthur Foundation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531369" y="835183"/>
            <a:ext cx="11434636" cy="317616"/>
          </a:xfrm>
        </p:spPr>
        <p:txBody>
          <a:bodyPr/>
          <a:lstStyle/>
          <a:p>
            <a:r>
              <a:rPr lang="it-IT" sz="1800"/>
              <a:t>Intesa Sanpaolo è tra le prime 100 aziende al mondo a entrare nel CE100 di Ellen MacArthur Foundation. Nel 2016 diventa il primo Financial Services Global Partner. Oggi è Strategic Partner.</a:t>
            </a:r>
          </a:p>
          <a:p>
            <a:endParaRPr lang="it-IT" sz="1632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62CEB63B-3D1B-422E-AB2A-CE74A85E3C70}"/>
              </a:ext>
            </a:extLst>
          </p:cNvPr>
          <p:cNvCxnSpPr>
            <a:cxnSpLocks/>
          </p:cNvCxnSpPr>
          <p:nvPr/>
        </p:nvCxnSpPr>
        <p:spPr>
          <a:xfrm flipH="1">
            <a:off x="374599" y="4783777"/>
            <a:ext cx="1142341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itleTrackerNum 6">
            <a:extLst>
              <a:ext uri="{FF2B5EF4-FFF2-40B4-BE49-F238E27FC236}">
                <a16:creationId xmlns:a16="http://schemas.microsoft.com/office/drawing/2014/main" id="{79A5F54E-A08F-4092-9136-E259E3F97C1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871792" y="4708513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D87408A-B4A8-4737-A9DD-6F2D212E5926}"/>
              </a:ext>
            </a:extLst>
          </p:cNvPr>
          <p:cNvCxnSpPr>
            <a:cxnSpLocks/>
          </p:cNvCxnSpPr>
          <p:nvPr/>
        </p:nvCxnSpPr>
        <p:spPr>
          <a:xfrm flipH="1">
            <a:off x="947057" y="4359838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id="{FA9FB50D-5AEB-4C4F-97F5-835B24C07C95}"/>
              </a:ext>
            </a:extLst>
          </p:cNvPr>
          <p:cNvSpPr>
            <a:spLocks noChangeAspect="1"/>
          </p:cNvSpPr>
          <p:nvPr/>
        </p:nvSpPr>
        <p:spPr>
          <a:xfrm>
            <a:off x="671681" y="3744055"/>
            <a:ext cx="550752" cy="55075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C58CBD9-F53A-41E7-B910-7CB0E5A5203A}"/>
              </a:ext>
            </a:extLst>
          </p:cNvPr>
          <p:cNvSpPr txBox="1"/>
          <p:nvPr/>
        </p:nvSpPr>
        <p:spPr>
          <a:xfrm>
            <a:off x="385448" y="4873214"/>
            <a:ext cx="1123219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Dicembre</a:t>
            </a:r>
            <a:br>
              <a:rPr lang="it-IT" sz="1428" b="1">
                <a:solidFill>
                  <a:srgbClr val="406B9B"/>
                </a:solidFill>
              </a:rPr>
            </a:br>
            <a:r>
              <a:rPr lang="it-IT" sz="1428" b="1">
                <a:solidFill>
                  <a:srgbClr val="406B9B"/>
                </a:solidFill>
              </a:rPr>
              <a:t>2015</a:t>
            </a:r>
          </a:p>
        </p:txBody>
      </p:sp>
      <p:sp>
        <p:nvSpPr>
          <p:cNvPr id="87" name="TitleTrackerNum 6">
            <a:extLst>
              <a:ext uri="{FF2B5EF4-FFF2-40B4-BE49-F238E27FC236}">
                <a16:creationId xmlns:a16="http://schemas.microsoft.com/office/drawing/2014/main" id="{E720716A-95EC-43DD-8042-B254B293F6E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517761" y="4708513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998C03B-3331-444E-B58E-D97C342BECE2}"/>
              </a:ext>
            </a:extLst>
          </p:cNvPr>
          <p:cNvSpPr txBox="1"/>
          <p:nvPr/>
        </p:nvSpPr>
        <p:spPr>
          <a:xfrm>
            <a:off x="2975256" y="4181840"/>
            <a:ext cx="1235541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Settembre</a:t>
            </a:r>
            <a:br>
              <a:rPr lang="it-IT" sz="1428" b="1">
                <a:solidFill>
                  <a:srgbClr val="406B9B"/>
                </a:solidFill>
              </a:rPr>
            </a:br>
            <a:r>
              <a:rPr lang="it-IT" sz="1428" b="1">
                <a:solidFill>
                  <a:srgbClr val="406B9B"/>
                </a:solidFill>
              </a:rPr>
              <a:t>2018</a:t>
            </a:r>
          </a:p>
        </p:txBody>
      </p:sp>
      <p:sp>
        <p:nvSpPr>
          <p:cNvPr id="97" name="TitleTrackerNum 6">
            <a:extLst>
              <a:ext uri="{FF2B5EF4-FFF2-40B4-BE49-F238E27FC236}">
                <a16:creationId xmlns:a16="http://schemas.microsoft.com/office/drawing/2014/main" id="{3F3FE963-F171-45A2-A3CA-AB768D00A83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7070028" y="4708513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49C9D78-EA17-4D47-B28A-3A8B28356535}"/>
              </a:ext>
            </a:extLst>
          </p:cNvPr>
          <p:cNvCxnSpPr>
            <a:cxnSpLocks/>
          </p:cNvCxnSpPr>
          <p:nvPr/>
        </p:nvCxnSpPr>
        <p:spPr>
          <a:xfrm flipH="1">
            <a:off x="7145293" y="4875136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475129FC-4866-410B-8166-111DDC6B2D83}"/>
              </a:ext>
            </a:extLst>
          </p:cNvPr>
          <p:cNvSpPr>
            <a:spLocks noChangeAspect="1"/>
          </p:cNvSpPr>
          <p:nvPr/>
        </p:nvSpPr>
        <p:spPr>
          <a:xfrm>
            <a:off x="6869917" y="5248087"/>
            <a:ext cx="550752" cy="55075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D57417-5CC1-49DE-8143-029F86AB59D2}"/>
              </a:ext>
            </a:extLst>
          </p:cNvPr>
          <p:cNvSpPr txBox="1"/>
          <p:nvPr/>
        </p:nvSpPr>
        <p:spPr>
          <a:xfrm>
            <a:off x="6527523" y="4181840"/>
            <a:ext cx="1235541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Novembre</a:t>
            </a:r>
            <a:br>
              <a:rPr lang="it-IT" sz="1428" b="1">
                <a:solidFill>
                  <a:srgbClr val="406B9B"/>
                </a:solidFill>
              </a:rPr>
            </a:br>
            <a:r>
              <a:rPr lang="it-IT" sz="1428" b="1">
                <a:solidFill>
                  <a:srgbClr val="406B9B"/>
                </a:solidFill>
              </a:rPr>
              <a:t>2019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02DAED6-97AC-4677-8149-7B003C5085C1}"/>
              </a:ext>
            </a:extLst>
          </p:cNvPr>
          <p:cNvSpPr txBox="1">
            <a:spLocks/>
          </p:cNvSpPr>
          <p:nvPr/>
        </p:nvSpPr>
        <p:spPr>
          <a:xfrm>
            <a:off x="1338751" y="3682860"/>
            <a:ext cx="1808713" cy="1098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Primo</a:t>
            </a:r>
            <a:r>
              <a:rPr lang="it-IT" sz="1428">
                <a:solidFill>
                  <a:srgbClr val="000000"/>
                </a:solidFill>
              </a:rPr>
              <a:t> </a:t>
            </a:r>
            <a:r>
              <a:rPr lang="it-IT" sz="1428" b="1">
                <a:solidFill>
                  <a:srgbClr val="406B9B"/>
                </a:solidFill>
              </a:rPr>
              <a:t>Financial Services Global Partner </a:t>
            </a:r>
            <a:r>
              <a:rPr lang="it-IT" sz="1428">
                <a:solidFill>
                  <a:srgbClr val="000000"/>
                </a:solidFill>
              </a:rPr>
              <a:t>della </a:t>
            </a:r>
            <a:r>
              <a:rPr lang="it-IT" sz="1428" b="1">
                <a:solidFill>
                  <a:srgbClr val="406B9B"/>
                </a:solidFill>
              </a:rPr>
              <a:t>Fondazione</a:t>
            </a:r>
            <a:r>
              <a:rPr lang="it-IT" sz="1428">
                <a:solidFill>
                  <a:srgbClr val="000000"/>
                </a:solidFill>
              </a:rPr>
              <a:t> </a:t>
            </a:r>
            <a:r>
              <a:rPr lang="it-IT" sz="1428" b="1">
                <a:solidFill>
                  <a:srgbClr val="406B9B"/>
                </a:solidFill>
              </a:rPr>
              <a:t>Ellen MacArthur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893F41F-204C-4AE7-B5C2-D3EA6A32B68A}"/>
              </a:ext>
            </a:extLst>
          </p:cNvPr>
          <p:cNvSpPr txBox="1">
            <a:spLocks/>
          </p:cNvSpPr>
          <p:nvPr/>
        </p:nvSpPr>
        <p:spPr>
          <a:xfrm>
            <a:off x="3721407" y="5872272"/>
            <a:ext cx="1787403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Avvio </a:t>
            </a:r>
            <a:r>
              <a:rPr lang="it-IT" sz="1428">
                <a:solidFill>
                  <a:srgbClr val="000000"/>
                </a:solidFill>
              </a:rPr>
              <a:t>del </a:t>
            </a:r>
            <a:r>
              <a:rPr lang="it-IT" sz="1428" b="1">
                <a:solidFill>
                  <a:srgbClr val="406B9B"/>
                </a:solidFill>
              </a:rPr>
              <a:t>CE LAB </a:t>
            </a:r>
            <a:br>
              <a:rPr lang="it-IT" sz="1428" b="1">
                <a:solidFill>
                  <a:srgbClr val="406B9B"/>
                </a:solidFill>
              </a:rPr>
            </a:br>
            <a:r>
              <a:rPr lang="it-IT" sz="1428">
                <a:solidFill>
                  <a:srgbClr val="000000"/>
                </a:solidFill>
              </a:rPr>
              <a:t>con </a:t>
            </a:r>
            <a:r>
              <a:rPr lang="it-IT" sz="1428" b="1">
                <a:solidFill>
                  <a:srgbClr val="406B9B"/>
                </a:solidFill>
              </a:rPr>
              <a:t>Cariplo </a:t>
            </a:r>
            <a:r>
              <a:rPr lang="it-IT" sz="1428" b="1" err="1">
                <a:solidFill>
                  <a:srgbClr val="406B9B"/>
                </a:solidFill>
              </a:rPr>
              <a:t>Factory</a:t>
            </a:r>
            <a:endParaRPr lang="it-IT" sz="1428" b="1">
              <a:solidFill>
                <a:srgbClr val="406B9B"/>
              </a:solidFill>
            </a:endParaRPr>
          </a:p>
        </p:txBody>
      </p:sp>
      <p:sp>
        <p:nvSpPr>
          <p:cNvPr id="92" name="TitleTrackerNum 6">
            <a:extLst>
              <a:ext uri="{FF2B5EF4-FFF2-40B4-BE49-F238E27FC236}">
                <a16:creationId xmlns:a16="http://schemas.microsoft.com/office/drawing/2014/main" id="{9F75DC85-0F5A-4E17-82D2-1F8760BE8C29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27227" y="4708513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428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57A57DA-6099-4E23-B313-7D8E2BD5A89E}"/>
              </a:ext>
            </a:extLst>
          </p:cNvPr>
          <p:cNvCxnSpPr>
            <a:cxnSpLocks/>
          </p:cNvCxnSpPr>
          <p:nvPr/>
        </p:nvCxnSpPr>
        <p:spPr>
          <a:xfrm flipH="1">
            <a:off x="4602491" y="4352351"/>
            <a:ext cx="1" cy="28429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>
            <a:extLst>
              <a:ext uri="{FF2B5EF4-FFF2-40B4-BE49-F238E27FC236}">
                <a16:creationId xmlns:a16="http://schemas.microsoft.com/office/drawing/2014/main" id="{02BADBE6-BE5A-4AB5-A8DD-91B4549A453C}"/>
              </a:ext>
            </a:extLst>
          </p:cNvPr>
          <p:cNvSpPr>
            <a:spLocks noChangeAspect="1"/>
          </p:cNvSpPr>
          <p:nvPr/>
        </p:nvSpPr>
        <p:spPr>
          <a:xfrm>
            <a:off x="4327115" y="3735264"/>
            <a:ext cx="550752" cy="55075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428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5905849-78EA-4FA2-A918-0E09D9301D5C}"/>
              </a:ext>
            </a:extLst>
          </p:cNvPr>
          <p:cNvSpPr txBox="1"/>
          <p:nvPr/>
        </p:nvSpPr>
        <p:spPr>
          <a:xfrm>
            <a:off x="4040882" y="4873213"/>
            <a:ext cx="1123219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Gennaio 2019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4ABF715-B6D0-48B0-89A7-39BEB2E96E48}"/>
              </a:ext>
            </a:extLst>
          </p:cNvPr>
          <p:cNvSpPr txBox="1">
            <a:spLocks/>
          </p:cNvSpPr>
          <p:nvPr/>
        </p:nvSpPr>
        <p:spPr>
          <a:xfrm>
            <a:off x="4971541" y="3682284"/>
            <a:ext cx="1555981" cy="1098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Lanciato </a:t>
            </a:r>
            <a:r>
              <a:rPr lang="it-IT" sz="1428">
                <a:solidFill>
                  <a:srgbClr val="000000"/>
                </a:solidFill>
              </a:rPr>
              <a:t>il </a:t>
            </a:r>
            <a:r>
              <a:rPr lang="it-IT" sz="1428" b="1">
                <a:solidFill>
                  <a:srgbClr val="406B9B"/>
                </a:solidFill>
              </a:rPr>
              <a:t>Plafond CE </a:t>
            </a:r>
            <a:r>
              <a:rPr lang="it-IT" sz="1428">
                <a:solidFill>
                  <a:srgbClr val="000000"/>
                </a:solidFill>
              </a:rPr>
              <a:t>per supportare la </a:t>
            </a:r>
            <a:r>
              <a:rPr lang="it-IT" sz="1428" err="1">
                <a:solidFill>
                  <a:srgbClr val="000000"/>
                </a:solidFill>
              </a:rPr>
              <a:t>Circular</a:t>
            </a:r>
            <a:r>
              <a:rPr lang="it-IT" sz="1428">
                <a:solidFill>
                  <a:srgbClr val="000000"/>
                </a:solidFill>
              </a:rPr>
              <a:t> Economy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78AFA7E-71EA-4046-977F-592947F883ED}"/>
              </a:ext>
            </a:extLst>
          </p:cNvPr>
          <p:cNvSpPr txBox="1">
            <a:spLocks/>
          </p:cNvSpPr>
          <p:nvPr/>
        </p:nvSpPr>
        <p:spPr>
          <a:xfrm>
            <a:off x="5665502" y="5190568"/>
            <a:ext cx="1175540" cy="672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Lanciato </a:t>
            </a:r>
            <a:r>
              <a:rPr lang="it-IT" sz="1428">
                <a:solidFill>
                  <a:srgbClr val="000000"/>
                </a:solidFill>
              </a:rPr>
              <a:t>il </a:t>
            </a:r>
            <a:r>
              <a:rPr lang="it-IT" sz="1428" b="1" err="1">
                <a:solidFill>
                  <a:srgbClr val="406B9B"/>
                </a:solidFill>
              </a:rPr>
              <a:t>Sustainability</a:t>
            </a:r>
            <a:endParaRPr lang="it-IT" sz="1428" b="1">
              <a:solidFill>
                <a:srgbClr val="406B9B"/>
              </a:solidFill>
            </a:endParaRPr>
          </a:p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Bond</a:t>
            </a:r>
            <a:endParaRPr lang="it-IT" sz="1428">
              <a:solidFill>
                <a:srgbClr val="000000"/>
              </a:solidFill>
            </a:endParaRPr>
          </a:p>
        </p:txBody>
      </p:sp>
      <p:pic>
        <p:nvPicPr>
          <p:cNvPr id="105" name="Picture 8" descr="Image result for ellen macarthur foundation logo png">
            <a:extLst>
              <a:ext uri="{FF2B5EF4-FFF2-40B4-BE49-F238E27FC236}">
                <a16:creationId xmlns:a16="http://schemas.microsoft.com/office/drawing/2014/main" id="{5F9236A1-82CD-4780-B96F-3A7108706F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691" b="25563"/>
          <a:stretch/>
        </p:blipFill>
        <p:spPr bwMode="auto">
          <a:xfrm>
            <a:off x="357197" y="5835538"/>
            <a:ext cx="1730472" cy="468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1BA4D33-4917-4BFA-98B7-DC3371750FAB}"/>
              </a:ext>
            </a:extLst>
          </p:cNvPr>
          <p:cNvCxnSpPr>
            <a:cxnSpLocks/>
          </p:cNvCxnSpPr>
          <p:nvPr/>
        </p:nvCxnSpPr>
        <p:spPr>
          <a:xfrm flipH="1">
            <a:off x="947058" y="5391097"/>
            <a:ext cx="1" cy="432545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5138" name="Picture 2" descr="Risultati immagini per environment">
            <a:extLst>
              <a:ext uri="{FF2B5EF4-FFF2-40B4-BE49-F238E27FC236}">
                <a16:creationId xmlns:a16="http://schemas.microsoft.com/office/drawing/2014/main" id="{13FA158F-07F5-4B2C-AF93-97C0EF7C55F2}"/>
              </a:ext>
            </a:extLst>
          </p:cNvPr>
          <p:cNvPicPr>
            <a:picLocks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" y="1622142"/>
            <a:ext cx="12191821" cy="1920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87BFE702-D550-4834-A53D-F2D9B7C055DF}"/>
              </a:ext>
            </a:extLst>
          </p:cNvPr>
          <p:cNvSpPr>
            <a:spLocks/>
          </p:cNvSpPr>
          <p:nvPr/>
        </p:nvSpPr>
        <p:spPr>
          <a:xfrm>
            <a:off x="90" y="1618858"/>
            <a:ext cx="12191820" cy="1920662"/>
          </a:xfrm>
          <a:prstGeom prst="rect">
            <a:avLst/>
          </a:prstGeom>
          <a:solidFill>
            <a:schemeClr val="accent4">
              <a:alpha val="6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7D55AE7-9FA2-4F29-836F-01F5044C9FBC}"/>
              </a:ext>
            </a:extLst>
          </p:cNvPr>
          <p:cNvSpPr txBox="1">
            <a:spLocks/>
          </p:cNvSpPr>
          <p:nvPr/>
        </p:nvSpPr>
        <p:spPr bwMode="gray">
          <a:xfrm>
            <a:off x="512863" y="1640260"/>
            <a:ext cx="5048834" cy="2672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32" b="1">
                <a:solidFill>
                  <a:srgbClr val="FFFFFF"/>
                </a:solidFill>
              </a:rPr>
              <a:t>In uno scenario circolare… </a:t>
            </a:r>
            <a:endParaRPr lang="it-IT" sz="1632">
              <a:solidFill>
                <a:srgbClr val="FFFFFF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8DC441D-162B-4F84-AE89-A7D5938AFCE4}"/>
              </a:ext>
            </a:extLst>
          </p:cNvPr>
          <p:cNvCxnSpPr>
            <a:cxnSpLocks/>
          </p:cNvCxnSpPr>
          <p:nvPr/>
        </p:nvCxnSpPr>
        <p:spPr>
          <a:xfrm>
            <a:off x="512862" y="1922095"/>
            <a:ext cx="109803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9D031E8E-70F3-4452-8A84-339A58BB7263}"/>
              </a:ext>
            </a:extLst>
          </p:cNvPr>
          <p:cNvGrpSpPr/>
          <p:nvPr/>
        </p:nvGrpSpPr>
        <p:grpSpPr>
          <a:xfrm>
            <a:off x="716061" y="2020724"/>
            <a:ext cx="2380443" cy="1048213"/>
            <a:chOff x="701717" y="1517005"/>
            <a:chExt cx="2333055" cy="1027346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24B6645-D253-459C-A476-F88AE83B5E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01717" y="1517005"/>
              <a:ext cx="1506823" cy="753604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897" b="1">
                  <a:solidFill>
                    <a:srgbClr val="FFFFFF"/>
                  </a:solidFill>
                </a:rPr>
                <a:t>-40%</a:t>
              </a:r>
              <a:endParaRPr lang="it-IT" sz="4897">
                <a:solidFill>
                  <a:srgbClr val="FFFFFF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443E888-8E3E-4411-B1C1-42B1DBDB4C49}"/>
                </a:ext>
              </a:extLst>
            </p:cNvPr>
            <p:cNvSpPr txBox="1">
              <a:spLocks/>
            </p:cNvSpPr>
            <p:nvPr/>
          </p:nvSpPr>
          <p:spPr>
            <a:xfrm>
              <a:off x="701717" y="2293192"/>
              <a:ext cx="2333055" cy="2511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632">
                  <a:solidFill>
                    <a:srgbClr val="FFFFFF"/>
                  </a:solidFill>
                </a:rPr>
                <a:t>Costi sociali al 2050</a:t>
              </a:r>
              <a:endParaRPr lang="it-IT" sz="1632" b="1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DB4C647-4864-49BE-83A8-12B942FD87CC}"/>
              </a:ext>
            </a:extLst>
          </p:cNvPr>
          <p:cNvGrpSpPr/>
          <p:nvPr/>
        </p:nvGrpSpPr>
        <p:grpSpPr>
          <a:xfrm>
            <a:off x="6978700" y="2020724"/>
            <a:ext cx="2448149" cy="1304473"/>
            <a:chOff x="3412037" y="1517005"/>
            <a:chExt cx="2399413" cy="127850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FB5635F-013D-49A9-BEE8-AB77A90C56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12037" y="1517005"/>
              <a:ext cx="1580561" cy="753604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897" b="1">
                  <a:solidFill>
                    <a:srgbClr val="FFFFFF"/>
                  </a:solidFill>
                </a:rPr>
                <a:t>4.500</a:t>
              </a:r>
              <a:endParaRPr lang="it-IT" sz="4897">
                <a:solidFill>
                  <a:srgbClr val="FFFFFF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6A7EF4-41EE-4913-BF1E-38B7484C3F35}"/>
                </a:ext>
              </a:extLst>
            </p:cNvPr>
            <p:cNvSpPr txBox="1">
              <a:spLocks/>
            </p:cNvSpPr>
            <p:nvPr/>
          </p:nvSpPr>
          <p:spPr>
            <a:xfrm>
              <a:off x="3412037" y="2293192"/>
              <a:ext cx="2333055" cy="5023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632">
                  <a:solidFill>
                    <a:srgbClr val="FFFFFF"/>
                  </a:solidFill>
                </a:rPr>
                <a:t>Valore per sviluppo della CE al 2030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6733504-AE14-48E3-B8B0-868B01151661}"/>
                </a:ext>
              </a:extLst>
            </p:cNvPr>
            <p:cNvSpPr txBox="1">
              <a:spLocks/>
            </p:cNvSpPr>
            <p:nvPr/>
          </p:nvSpPr>
          <p:spPr>
            <a:xfrm>
              <a:off x="5025201" y="1930464"/>
              <a:ext cx="786249" cy="2511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632" b="1" err="1">
                  <a:solidFill>
                    <a:srgbClr val="FFFFFF"/>
                  </a:solidFill>
                </a:rPr>
                <a:t>Bln</a:t>
              </a:r>
              <a:r>
                <a:rPr lang="it-IT" sz="1632" b="1">
                  <a:solidFill>
                    <a:srgbClr val="FFFFFF"/>
                  </a:solidFill>
                </a:rPr>
                <a:t> USD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7F26EE7-F086-4A05-B7AE-58A6667E4247}"/>
              </a:ext>
            </a:extLst>
          </p:cNvPr>
          <p:cNvGrpSpPr/>
          <p:nvPr/>
        </p:nvGrpSpPr>
        <p:grpSpPr>
          <a:xfrm>
            <a:off x="3847381" y="2020724"/>
            <a:ext cx="2380443" cy="1048213"/>
            <a:chOff x="3318696" y="1517005"/>
            <a:chExt cx="2333055" cy="1027346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259D239-3460-4956-800B-76BD83A39BE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18696" y="1517005"/>
              <a:ext cx="1506823" cy="753604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897" b="1">
                  <a:solidFill>
                    <a:srgbClr val="FFFFFF"/>
                  </a:solidFill>
                </a:rPr>
                <a:t>-56%</a:t>
              </a:r>
              <a:endParaRPr lang="it-IT" sz="4897">
                <a:solidFill>
                  <a:srgbClr val="FFFFFF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2256369-C4FB-49DE-B8F0-F6BF08F907D1}"/>
                </a:ext>
              </a:extLst>
            </p:cNvPr>
            <p:cNvSpPr txBox="1">
              <a:spLocks/>
            </p:cNvSpPr>
            <p:nvPr/>
          </p:nvSpPr>
          <p:spPr>
            <a:xfrm>
              <a:off x="3318696" y="2293192"/>
              <a:ext cx="2333055" cy="2511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632">
                  <a:solidFill>
                    <a:srgbClr val="FFFFFF"/>
                  </a:solidFill>
                </a:rPr>
                <a:t>Emissione CO2 al 2050</a:t>
              </a:r>
              <a:endParaRPr lang="it-IT" sz="1632" b="1">
                <a:solidFill>
                  <a:srgbClr val="FFFFFF"/>
                </a:solidFill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32B46BAB-C6D0-48CA-9C9C-C2323A03CA5D}"/>
              </a:ext>
            </a:extLst>
          </p:cNvPr>
          <p:cNvSpPr txBox="1">
            <a:spLocks/>
          </p:cNvSpPr>
          <p:nvPr/>
        </p:nvSpPr>
        <p:spPr>
          <a:xfrm>
            <a:off x="9946480" y="2335511"/>
            <a:ext cx="1788463" cy="7687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32">
                <a:solidFill>
                  <a:srgbClr val="FFFFFF"/>
                </a:solidFill>
              </a:rPr>
              <a:t>Opportunità di</a:t>
            </a:r>
            <a:br>
              <a:rPr lang="it-IT" sz="1632">
                <a:solidFill>
                  <a:srgbClr val="FFFFFF"/>
                </a:solidFill>
              </a:rPr>
            </a:br>
            <a:r>
              <a:rPr lang="it-IT" sz="1632" b="1">
                <a:solidFill>
                  <a:srgbClr val="FFFFFF"/>
                </a:solidFill>
              </a:rPr>
              <a:t>de-</a:t>
            </a:r>
            <a:r>
              <a:rPr lang="it-IT" sz="1632" b="1" err="1">
                <a:solidFill>
                  <a:srgbClr val="FFFFFF"/>
                </a:solidFill>
              </a:rPr>
              <a:t>risking</a:t>
            </a:r>
            <a:r>
              <a:rPr lang="it-IT" sz="1632" b="1">
                <a:solidFill>
                  <a:srgbClr val="FFFFFF"/>
                </a:solidFill>
              </a:rPr>
              <a:t> </a:t>
            </a:r>
            <a:r>
              <a:rPr lang="it-IT" sz="1632">
                <a:solidFill>
                  <a:srgbClr val="FFFFFF"/>
                </a:solidFill>
              </a:rPr>
              <a:t>degli investimenti</a:t>
            </a:r>
          </a:p>
        </p:txBody>
      </p:sp>
      <p:sp>
        <p:nvSpPr>
          <p:cNvPr id="51" name="5. Source">
            <a:extLst>
              <a:ext uri="{FF2B5EF4-FFF2-40B4-BE49-F238E27FC236}">
                <a16:creationId xmlns:a16="http://schemas.microsoft.com/office/drawing/2014/main" id="{EAF7A0F5-548A-4E73-8D58-AD20C92E77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074" y="6488454"/>
            <a:ext cx="6816626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829342" indent="-829342" defTabSz="913526" fontAlgn="base">
              <a:spcBef>
                <a:spcPct val="0"/>
              </a:spcBef>
              <a:spcAft>
                <a:spcPct val="0"/>
              </a:spcAft>
              <a:tabLst>
                <a:tab pos="643032" algn="l"/>
              </a:tabLst>
            </a:pPr>
            <a:r>
              <a:rPr lang="en-US" sz="1020">
                <a:solidFill>
                  <a:srgbClr val="808080"/>
                </a:solidFill>
                <a:latin typeface="Century Gothic" panose="020B0502020202020204" pitchFamily="34" charset="0"/>
              </a:rPr>
              <a:t>FONTE: 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Ellen MacArthur Foundation; Dallo Spreco al valore;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Achieving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Growth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Within</a:t>
            </a:r>
            <a:r>
              <a:rPr lang="it-IT" sz="1020">
                <a:solidFill>
                  <a:srgbClr val="808080"/>
                </a:solidFill>
                <a:latin typeface="Century Gothic" panose="020B0502020202020204" pitchFamily="34" charset="0"/>
              </a:rPr>
              <a:t> </a:t>
            </a:r>
            <a:r>
              <a:rPr lang="it-IT" sz="1020" err="1">
                <a:solidFill>
                  <a:srgbClr val="808080"/>
                </a:solidFill>
                <a:latin typeface="Century Gothic" panose="020B0502020202020204" pitchFamily="34" charset="0"/>
              </a:rPr>
              <a:t>SystemiQ</a:t>
            </a:r>
            <a:endParaRPr lang="en-US" sz="102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3" name="Picture 7" descr="Risultati immagini per ellen macarthur foundation logo png">
            <a:extLst>
              <a:ext uri="{FF2B5EF4-FFF2-40B4-BE49-F238E27FC236}">
                <a16:creationId xmlns:a16="http://schemas.microsoft.com/office/drawing/2014/main" id="{831EFBCD-A7BD-8C40-A649-EF8C10A64C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9118"/>
          <a:stretch/>
        </p:blipFill>
        <p:spPr bwMode="auto">
          <a:xfrm>
            <a:off x="777101" y="3844107"/>
            <a:ext cx="336878" cy="34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2" descr="https://static.thenounproject.com/png/2763886-200.png">
            <a:extLst>
              <a:ext uri="{FF2B5EF4-FFF2-40B4-BE49-F238E27FC236}">
                <a16:creationId xmlns:a16="http://schemas.microsoft.com/office/drawing/2014/main" id="{01F7559C-AA36-2246-B0B9-9A126D39B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696" y="3846694"/>
            <a:ext cx="349590" cy="3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6" descr="https://static.thenounproject.com/png/680744-200.png">
            <a:extLst>
              <a:ext uri="{FF2B5EF4-FFF2-40B4-BE49-F238E27FC236}">
                <a16:creationId xmlns:a16="http://schemas.microsoft.com/office/drawing/2014/main" id="{93E07DF7-3D47-064C-A9D3-2015BD482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713" y="5348669"/>
            <a:ext cx="349590" cy="3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Immagine 58">
            <a:extLst>
              <a:ext uri="{FF2B5EF4-FFF2-40B4-BE49-F238E27FC236}">
                <a16:creationId xmlns:a16="http://schemas.microsoft.com/office/drawing/2014/main" id="{34006A90-40F8-6F4C-A79D-995EC4C97A0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88"/>
          <a:stretch/>
        </p:blipFill>
        <p:spPr>
          <a:xfrm>
            <a:off x="2136864" y="5788051"/>
            <a:ext cx="1457105" cy="576883"/>
          </a:xfrm>
          <a:prstGeom prst="rect">
            <a:avLst/>
          </a:prstGeom>
        </p:spPr>
      </p:pic>
      <p:grpSp>
        <p:nvGrpSpPr>
          <p:cNvPr id="61" name="Group 9">
            <a:extLst>
              <a:ext uri="{FF2B5EF4-FFF2-40B4-BE49-F238E27FC236}">
                <a16:creationId xmlns:a16="http://schemas.microsoft.com/office/drawing/2014/main" id="{02E37341-4E17-8A49-8658-4C2699EE590B}"/>
              </a:ext>
            </a:extLst>
          </p:cNvPr>
          <p:cNvGrpSpPr/>
          <p:nvPr/>
        </p:nvGrpSpPr>
        <p:grpSpPr>
          <a:xfrm>
            <a:off x="3312053" y="5249127"/>
            <a:ext cx="550752" cy="550752"/>
            <a:chOff x="4851587" y="5669804"/>
            <a:chExt cx="539788" cy="539788"/>
          </a:xfrm>
        </p:grpSpPr>
        <p:sp>
          <p:nvSpPr>
            <p:cNvPr id="62" name="Oval 88">
              <a:extLst>
                <a:ext uri="{FF2B5EF4-FFF2-40B4-BE49-F238E27FC236}">
                  <a16:creationId xmlns:a16="http://schemas.microsoft.com/office/drawing/2014/main" id="{322629C6-548F-964F-B3F2-61A1B5F977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51587" y="5669804"/>
              <a:ext cx="539788" cy="53978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3" name="Picture 9" descr="https://static.thenounproject.com/png/2725721-200.png">
              <a:extLst>
                <a:ext uri="{FF2B5EF4-FFF2-40B4-BE49-F238E27FC236}">
                  <a16:creationId xmlns:a16="http://schemas.microsoft.com/office/drawing/2014/main" id="{616CA110-A172-E849-82BF-DBE38DD95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2401" y="5746581"/>
              <a:ext cx="376894" cy="376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4" name="Straight Connector 97">
            <a:extLst>
              <a:ext uri="{FF2B5EF4-FFF2-40B4-BE49-F238E27FC236}">
                <a16:creationId xmlns:a16="http://schemas.microsoft.com/office/drawing/2014/main" id="{0FF3EB88-9CA7-134B-B64E-C04DF0FFDB0C}"/>
              </a:ext>
            </a:extLst>
          </p:cNvPr>
          <p:cNvCxnSpPr>
            <a:cxnSpLocks/>
          </p:cNvCxnSpPr>
          <p:nvPr/>
        </p:nvCxnSpPr>
        <p:spPr>
          <a:xfrm flipH="1">
            <a:off x="3593970" y="4892183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leTrackerNum 6">
            <a:extLst>
              <a:ext uri="{FF2B5EF4-FFF2-40B4-BE49-F238E27FC236}">
                <a16:creationId xmlns:a16="http://schemas.microsoft.com/office/drawing/2014/main" id="{A1AF7FAE-38FA-4345-869A-00ABAA657DA1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8135108" y="4697285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428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TextBox 94">
            <a:extLst>
              <a:ext uri="{FF2B5EF4-FFF2-40B4-BE49-F238E27FC236}">
                <a16:creationId xmlns:a16="http://schemas.microsoft.com/office/drawing/2014/main" id="{739926D5-2B2E-45B5-BE8D-D6160189ABC7}"/>
              </a:ext>
            </a:extLst>
          </p:cNvPr>
          <p:cNvSpPr txBox="1"/>
          <p:nvPr/>
        </p:nvSpPr>
        <p:spPr>
          <a:xfrm>
            <a:off x="7648763" y="4861985"/>
            <a:ext cx="1123219" cy="4394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Gennaio 2022</a:t>
            </a:r>
          </a:p>
        </p:txBody>
      </p:sp>
      <p:sp>
        <p:nvSpPr>
          <p:cNvPr id="56" name="TextBox 102">
            <a:extLst>
              <a:ext uri="{FF2B5EF4-FFF2-40B4-BE49-F238E27FC236}">
                <a16:creationId xmlns:a16="http://schemas.microsoft.com/office/drawing/2014/main" id="{75034824-DF12-403E-9EA3-3434043F423C}"/>
              </a:ext>
            </a:extLst>
          </p:cNvPr>
          <p:cNvSpPr txBox="1">
            <a:spLocks/>
          </p:cNvSpPr>
          <p:nvPr/>
        </p:nvSpPr>
        <p:spPr>
          <a:xfrm>
            <a:off x="8579422" y="3680681"/>
            <a:ext cx="1572116" cy="1098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Rinnovo </a:t>
            </a:r>
            <a:r>
              <a:rPr lang="it-IT" sz="1428">
                <a:solidFill>
                  <a:srgbClr val="000000"/>
                </a:solidFill>
              </a:rPr>
              <a:t>della</a:t>
            </a:r>
            <a:r>
              <a:rPr lang="it-IT" sz="1428" b="1">
                <a:solidFill>
                  <a:srgbClr val="406B9B"/>
                </a:solidFill>
              </a:rPr>
              <a:t> </a:t>
            </a:r>
            <a:r>
              <a:rPr lang="it-IT" sz="1428" b="1" err="1">
                <a:solidFill>
                  <a:srgbClr val="406B9B"/>
                </a:solidFill>
              </a:rPr>
              <a:t>strategic</a:t>
            </a:r>
            <a:r>
              <a:rPr lang="it-IT" sz="1428" b="1">
                <a:solidFill>
                  <a:srgbClr val="406B9B"/>
                </a:solidFill>
              </a:rPr>
              <a:t> partnership </a:t>
            </a:r>
            <a:r>
              <a:rPr lang="it-IT" sz="1428">
                <a:solidFill>
                  <a:srgbClr val="000000"/>
                </a:solidFill>
              </a:rPr>
              <a:t>con la </a:t>
            </a:r>
            <a:r>
              <a:rPr lang="it-IT" sz="1428" b="1">
                <a:solidFill>
                  <a:srgbClr val="406B9B"/>
                </a:solidFill>
              </a:rPr>
              <a:t>Fondazione</a:t>
            </a:r>
            <a:r>
              <a:rPr lang="it-IT" sz="1428">
                <a:solidFill>
                  <a:srgbClr val="000000"/>
                </a:solidFill>
              </a:rPr>
              <a:t> </a:t>
            </a:r>
            <a:r>
              <a:rPr lang="it-IT" sz="1428" b="1">
                <a:solidFill>
                  <a:srgbClr val="406B9B"/>
                </a:solidFill>
              </a:rPr>
              <a:t>Ellen MacArthur</a:t>
            </a:r>
            <a:endParaRPr lang="it-IT" sz="1428">
              <a:solidFill>
                <a:srgbClr val="000000"/>
              </a:solidFill>
            </a:endParaRPr>
          </a:p>
        </p:txBody>
      </p:sp>
      <p:pic>
        <p:nvPicPr>
          <p:cNvPr id="60" name="Picture 12" descr="https://static.thenounproject.com/png/2763886-200.png">
            <a:extLst>
              <a:ext uri="{FF2B5EF4-FFF2-40B4-BE49-F238E27FC236}">
                <a16:creationId xmlns:a16="http://schemas.microsoft.com/office/drawing/2014/main" id="{47A6E3E6-AEC6-4D00-A102-38CE0F5FD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577" y="3835466"/>
            <a:ext cx="349590" cy="3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Straight Connector 92">
            <a:extLst>
              <a:ext uri="{FF2B5EF4-FFF2-40B4-BE49-F238E27FC236}">
                <a16:creationId xmlns:a16="http://schemas.microsoft.com/office/drawing/2014/main" id="{7765A087-93FE-42E5-BAF6-0FB3C5D0E351}"/>
              </a:ext>
            </a:extLst>
          </p:cNvPr>
          <p:cNvCxnSpPr>
            <a:cxnSpLocks/>
          </p:cNvCxnSpPr>
          <p:nvPr/>
        </p:nvCxnSpPr>
        <p:spPr>
          <a:xfrm flipH="1">
            <a:off x="8200750" y="4350751"/>
            <a:ext cx="1" cy="28429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82">
            <a:extLst>
              <a:ext uri="{FF2B5EF4-FFF2-40B4-BE49-F238E27FC236}">
                <a16:creationId xmlns:a16="http://schemas.microsoft.com/office/drawing/2014/main" id="{37419162-72A5-485F-9BA5-44E3DC4EE523}"/>
              </a:ext>
            </a:extLst>
          </p:cNvPr>
          <p:cNvSpPr>
            <a:spLocks noChangeAspect="1"/>
          </p:cNvSpPr>
          <p:nvPr/>
        </p:nvSpPr>
        <p:spPr>
          <a:xfrm>
            <a:off x="7927559" y="3732830"/>
            <a:ext cx="550752" cy="55075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3" name="Picture 7" descr="Risultati immagini per ellen macarthur foundation logo png">
            <a:extLst>
              <a:ext uri="{FF2B5EF4-FFF2-40B4-BE49-F238E27FC236}">
                <a16:creationId xmlns:a16="http://schemas.microsoft.com/office/drawing/2014/main" id="{48615964-B0A6-40B3-9B9A-3293F0FFBC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9118"/>
          <a:stretch/>
        </p:blipFill>
        <p:spPr bwMode="auto">
          <a:xfrm>
            <a:off x="8032979" y="3832882"/>
            <a:ext cx="336878" cy="34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itleTrackerNum 6">
            <a:extLst>
              <a:ext uri="{FF2B5EF4-FFF2-40B4-BE49-F238E27FC236}">
                <a16:creationId xmlns:a16="http://schemas.microsoft.com/office/drawing/2014/main" id="{2468CC98-D468-466D-A6DE-72552C92ED1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1265042" y="4716538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0" name="Straight Connector 97">
            <a:extLst>
              <a:ext uri="{FF2B5EF4-FFF2-40B4-BE49-F238E27FC236}">
                <a16:creationId xmlns:a16="http://schemas.microsoft.com/office/drawing/2014/main" id="{5858C454-DE35-454C-A932-2636AF444EBB}"/>
              </a:ext>
            </a:extLst>
          </p:cNvPr>
          <p:cNvCxnSpPr>
            <a:cxnSpLocks/>
          </p:cNvCxnSpPr>
          <p:nvPr/>
        </p:nvCxnSpPr>
        <p:spPr>
          <a:xfrm flipH="1">
            <a:off x="11340307" y="4883161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98">
            <a:extLst>
              <a:ext uri="{FF2B5EF4-FFF2-40B4-BE49-F238E27FC236}">
                <a16:creationId xmlns:a16="http://schemas.microsoft.com/office/drawing/2014/main" id="{96D6937D-8023-4EBA-9160-5681243F2594}"/>
              </a:ext>
            </a:extLst>
          </p:cNvPr>
          <p:cNvSpPr>
            <a:spLocks noChangeAspect="1"/>
          </p:cNvSpPr>
          <p:nvPr/>
        </p:nvSpPr>
        <p:spPr>
          <a:xfrm>
            <a:off x="11064931" y="5256112"/>
            <a:ext cx="550752" cy="55075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85" name="TextBox 99">
            <a:extLst>
              <a:ext uri="{FF2B5EF4-FFF2-40B4-BE49-F238E27FC236}">
                <a16:creationId xmlns:a16="http://schemas.microsoft.com/office/drawing/2014/main" id="{7FF390AA-4036-40E7-8177-4D1B818423E2}"/>
              </a:ext>
            </a:extLst>
          </p:cNvPr>
          <p:cNvSpPr txBox="1"/>
          <p:nvPr/>
        </p:nvSpPr>
        <p:spPr>
          <a:xfrm>
            <a:off x="10722537" y="4189865"/>
            <a:ext cx="1235541" cy="4484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Febbraio</a:t>
            </a:r>
            <a:br>
              <a:rPr lang="it-IT" sz="1428" b="1">
                <a:solidFill>
                  <a:srgbClr val="406B9B"/>
                </a:solidFill>
              </a:rPr>
            </a:br>
            <a:r>
              <a:rPr lang="it-IT" sz="1428" b="1">
                <a:solidFill>
                  <a:srgbClr val="406B9B"/>
                </a:solidFill>
              </a:rPr>
              <a:t>2022</a:t>
            </a:r>
          </a:p>
        </p:txBody>
      </p:sp>
      <p:sp>
        <p:nvSpPr>
          <p:cNvPr id="88" name="TextBox 103">
            <a:extLst>
              <a:ext uri="{FF2B5EF4-FFF2-40B4-BE49-F238E27FC236}">
                <a16:creationId xmlns:a16="http://schemas.microsoft.com/office/drawing/2014/main" id="{2D45A843-373D-424B-9602-8406A3735AE1}"/>
              </a:ext>
            </a:extLst>
          </p:cNvPr>
          <p:cNvSpPr txBox="1">
            <a:spLocks/>
          </p:cNvSpPr>
          <p:nvPr/>
        </p:nvSpPr>
        <p:spPr>
          <a:xfrm>
            <a:off x="9484031" y="5198593"/>
            <a:ext cx="1787403" cy="8789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ct val="0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28" b="1">
                <a:solidFill>
                  <a:srgbClr val="406B9B"/>
                </a:solidFill>
              </a:rPr>
              <a:t>Lanciato il nuovo Plafond CE incrementato a 8 miliardi di Euro</a:t>
            </a:r>
            <a:endParaRPr lang="it-IT" sz="1428">
              <a:solidFill>
                <a:srgbClr val="000000"/>
              </a:solidFill>
            </a:endParaRPr>
          </a:p>
        </p:txBody>
      </p:sp>
      <p:pic>
        <p:nvPicPr>
          <p:cNvPr id="89" name="Picture 16" descr="https://static.thenounproject.com/png/680744-200.png">
            <a:extLst>
              <a:ext uri="{FF2B5EF4-FFF2-40B4-BE49-F238E27FC236}">
                <a16:creationId xmlns:a16="http://schemas.microsoft.com/office/drawing/2014/main" id="{FFD772BD-6EA0-49EF-8A2B-779DE0CE5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9727" y="5356694"/>
            <a:ext cx="349590" cy="3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03252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958" y="167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25958" y="167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338" y="53"/>
            <a:ext cx="161972" cy="1619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0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244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D4106A-B7A4-4900-B2AA-19FE4706F227}"/>
              </a:ext>
            </a:extLst>
          </p:cNvPr>
          <p:cNvSpPr txBox="1">
            <a:spLocks/>
          </p:cNvSpPr>
          <p:nvPr/>
        </p:nvSpPr>
        <p:spPr bwMode="gray">
          <a:xfrm>
            <a:off x="542297" y="1253979"/>
            <a:ext cx="3463888" cy="2355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Criteri </a:t>
            </a:r>
            <a:r>
              <a:rPr kumimoji="0" lang="it-IT" sz="1531" b="1" i="0" u="none" strike="noStrike" kern="1200" cap="none" spc="0" normalizeH="0" baseline="0" noProof="0" err="1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Circular</a:t>
            </a:r>
            <a:r>
              <a: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 Economy</a:t>
            </a:r>
            <a:endParaRPr kumimoji="0" lang="it-IT" sz="1531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239CBD1-A151-47F1-B384-DF47A44AB4ED}"/>
              </a:ext>
            </a:extLst>
          </p:cNvPr>
          <p:cNvCxnSpPr>
            <a:cxnSpLocks/>
          </p:cNvCxnSpPr>
          <p:nvPr/>
        </p:nvCxnSpPr>
        <p:spPr>
          <a:xfrm>
            <a:off x="555661" y="1847682"/>
            <a:ext cx="346388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4346B9A-2323-457A-8B24-FCE9728BC49C}"/>
              </a:ext>
            </a:extLst>
          </p:cNvPr>
          <p:cNvSpPr txBox="1">
            <a:spLocks/>
          </p:cNvSpPr>
          <p:nvPr/>
        </p:nvSpPr>
        <p:spPr bwMode="gray">
          <a:xfrm>
            <a:off x="8352566" y="1302755"/>
            <a:ext cx="3463888" cy="2355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Risultati del 2022</a:t>
            </a:r>
            <a:endParaRPr kumimoji="0" lang="it-IT" sz="1531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2C30DDA-22AD-4DE4-8432-21DCC5BD840B}"/>
              </a:ext>
            </a:extLst>
          </p:cNvPr>
          <p:cNvSpPr txBox="1">
            <a:spLocks/>
          </p:cNvSpPr>
          <p:nvPr/>
        </p:nvSpPr>
        <p:spPr bwMode="gray">
          <a:xfrm>
            <a:off x="8244855" y="2620261"/>
            <a:ext cx="880048" cy="62799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408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MS PGothic"/>
                <a:cs typeface="+mn-cs"/>
                <a:sym typeface="Century Gothic" panose="020B0502020202020204" pitchFamily="34" charset="0"/>
              </a:rPr>
              <a:t>230</a:t>
            </a:r>
            <a:endParaRPr kumimoji="0" lang="it-IT" sz="408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2C8E40B-BABE-4A22-A73D-C76286F08C55}"/>
              </a:ext>
            </a:extLst>
          </p:cNvPr>
          <p:cNvSpPr txBox="1">
            <a:spLocks/>
          </p:cNvSpPr>
          <p:nvPr/>
        </p:nvSpPr>
        <p:spPr bwMode="gray">
          <a:xfrm>
            <a:off x="9834331" y="2721465"/>
            <a:ext cx="1982123" cy="2670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MS PGothic"/>
                <a:cs typeface="+mn-cs"/>
                <a:sym typeface="Century Gothic" panose="020B0502020202020204" pitchFamily="34" charset="0"/>
              </a:rPr>
              <a:t>Operazioni concluse</a:t>
            </a:r>
            <a:endParaRPr kumimoji="0" lang="it-IT" sz="1531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9C228E-C87B-4C05-A6FD-E2F7DA2F17A4}"/>
              </a:ext>
            </a:extLst>
          </p:cNvPr>
          <p:cNvSpPr txBox="1">
            <a:spLocks/>
          </p:cNvSpPr>
          <p:nvPr/>
        </p:nvSpPr>
        <p:spPr bwMode="gray">
          <a:xfrm>
            <a:off x="8369887" y="3645802"/>
            <a:ext cx="755014" cy="62799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lang="it-IT" sz="4081" b="1">
                <a:solidFill>
                  <a:srgbClr val="406B9B"/>
                </a:solidFill>
                <a:latin typeface="Century Gothic"/>
                <a:ea typeface="MS PGothic"/>
              </a:rPr>
              <a:t>8</a:t>
            </a:r>
            <a:r>
              <a:rPr kumimoji="0" lang="it-IT" sz="2041" b="1" i="0" u="none" strike="noStrike" kern="1200" cap="none" spc="0" normalizeH="0" baseline="9000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 panose="020B0502020202020204" pitchFamily="34" charset="0"/>
              </a:rPr>
              <a:t> </a:t>
            </a:r>
            <a:endParaRPr kumimoji="0" lang="it-IT" sz="408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4BF2442-4D06-4366-A5E9-134D46D3CA16}"/>
              </a:ext>
            </a:extLst>
          </p:cNvPr>
          <p:cNvSpPr txBox="1">
            <a:spLocks/>
          </p:cNvSpPr>
          <p:nvPr/>
        </p:nvSpPr>
        <p:spPr bwMode="gray">
          <a:xfrm>
            <a:off x="9534115" y="3767556"/>
            <a:ext cx="2582553" cy="706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Mld EUR di finanziamenti complessivi 2022-25</a:t>
            </a:r>
            <a:br>
              <a:rPr kumimoji="0" lang="it-IT" sz="15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</a:br>
            <a:endParaRPr kumimoji="0" lang="it-IT" sz="153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9BCF74-7D5D-4BC0-ABFD-E2A189CA1683}"/>
              </a:ext>
            </a:extLst>
          </p:cNvPr>
          <p:cNvGrpSpPr/>
          <p:nvPr/>
        </p:nvGrpSpPr>
        <p:grpSpPr>
          <a:xfrm>
            <a:off x="535944" y="2767575"/>
            <a:ext cx="3565815" cy="942309"/>
            <a:chOff x="3270137" y="2712434"/>
            <a:chExt cx="3494880" cy="923622"/>
          </a:xfrm>
        </p:grpSpPr>
        <p:sp>
          <p:nvSpPr>
            <p:cNvPr id="40" name="TitleTrackerNum 6">
              <a:extLst>
                <a:ext uri="{FF2B5EF4-FFF2-40B4-BE49-F238E27FC236}">
                  <a16:creationId xmlns:a16="http://schemas.microsoft.com/office/drawing/2014/main" id="{4285084B-988F-48D9-BE97-A21B8D177333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3270137" y="2800399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80A6A7D-9E3B-4BC3-85CC-3443B321CECF}"/>
                </a:ext>
              </a:extLst>
            </p:cNvPr>
            <p:cNvSpPr txBox="1">
              <a:spLocks/>
            </p:cNvSpPr>
            <p:nvPr/>
          </p:nvSpPr>
          <p:spPr>
            <a:xfrm>
              <a:off x="4055890" y="2712434"/>
              <a:ext cx="2709127" cy="9236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>
                  <a:solidFill>
                    <a:srgbClr val="000000"/>
                  </a:solidFill>
                  <a:ea typeface="MS PGothic" panose="020B0600070205080204" pitchFamily="34" charset="-128"/>
                </a:rPr>
                <a:t>Approvvigionamento di </a:t>
              </a: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risorse rinnovabili </a:t>
              </a:r>
              <a:r>
                <a:rPr lang="it-IT" sz="1531">
                  <a:solidFill>
                    <a:srgbClr val="000000"/>
                  </a:solidFill>
                  <a:ea typeface="MS PGothic" panose="020B0600070205080204" pitchFamily="34" charset="-128"/>
                </a:rPr>
                <a:t>secondarie o di </a:t>
              </a: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provenienza sostenibile </a:t>
              </a:r>
              <a:r>
                <a:rPr lang="it-IT" sz="1531">
                  <a:solidFill>
                    <a:srgbClr val="000000"/>
                  </a:solidFill>
                  <a:ea typeface="MS PGothic" panose="020B0600070205080204" pitchFamily="34" charset="-128"/>
                </a:rPr>
                <a:t>e/o materiale riciclato</a:t>
              </a:r>
            </a:p>
          </p:txBody>
        </p:sp>
        <p:pic>
          <p:nvPicPr>
            <p:cNvPr id="422920" name="Picture 8" descr="https://static.thenounproject.com/png/1014192-200.png">
              <a:extLst>
                <a:ext uri="{FF2B5EF4-FFF2-40B4-BE49-F238E27FC236}">
                  <a16:creationId xmlns:a16="http://schemas.microsoft.com/office/drawing/2014/main" id="{17D2358B-99F2-4148-9976-6D10B79DC5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4342" y="2888530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76E2A60-9B68-432A-9B7C-D0CCB42DF50F}"/>
              </a:ext>
            </a:extLst>
          </p:cNvPr>
          <p:cNvGrpSpPr/>
          <p:nvPr/>
        </p:nvGrpSpPr>
        <p:grpSpPr>
          <a:xfrm>
            <a:off x="535944" y="3748168"/>
            <a:ext cx="3585858" cy="739019"/>
            <a:chOff x="3270137" y="3673512"/>
            <a:chExt cx="3514524" cy="724364"/>
          </a:xfrm>
        </p:grpSpPr>
        <p:sp>
          <p:nvSpPr>
            <p:cNvPr id="43" name="TitleTrackerNum 6">
              <a:extLst>
                <a:ext uri="{FF2B5EF4-FFF2-40B4-BE49-F238E27FC236}">
                  <a16:creationId xmlns:a16="http://schemas.microsoft.com/office/drawing/2014/main" id="{63BE8C1C-3BCC-4FDC-A734-B9C3EFEAAF3E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3270137" y="3673512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E98F47-CCAE-4DE4-81FE-DEC710A77307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3705159"/>
              <a:ext cx="2709127" cy="6927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53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Soluzioni che aumentano               l'</a:t>
              </a: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efficacia del consumo di risorse</a:t>
              </a:r>
            </a:p>
          </p:txBody>
        </p:sp>
        <p:pic>
          <p:nvPicPr>
            <p:cNvPr id="422924" name="Picture 12" descr="https://static.thenounproject.com/png/2895066-200.png">
              <a:extLst>
                <a:ext uri="{FF2B5EF4-FFF2-40B4-BE49-F238E27FC236}">
                  <a16:creationId xmlns:a16="http://schemas.microsoft.com/office/drawing/2014/main" id="{D47483F4-8084-4340-8603-CBF5B534B1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0643" y="3824018"/>
              <a:ext cx="376894" cy="376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FCCC98B-3E10-42BF-B1BF-A3751E62AA87}"/>
              </a:ext>
            </a:extLst>
          </p:cNvPr>
          <p:cNvGrpSpPr/>
          <p:nvPr/>
        </p:nvGrpSpPr>
        <p:grpSpPr>
          <a:xfrm>
            <a:off x="535944" y="4639009"/>
            <a:ext cx="3585858" cy="739245"/>
            <a:chOff x="3270137" y="4546625"/>
            <a:chExt cx="3514524" cy="724586"/>
          </a:xfrm>
        </p:grpSpPr>
        <p:sp>
          <p:nvSpPr>
            <p:cNvPr id="46" name="TitleTrackerNum 6">
              <a:extLst>
                <a:ext uri="{FF2B5EF4-FFF2-40B4-BE49-F238E27FC236}">
                  <a16:creationId xmlns:a16="http://schemas.microsoft.com/office/drawing/2014/main" id="{C3364C86-4191-4641-8275-F60CFC317877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3270137" y="4546625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A34361E-8CB7-4C54-952E-2419CBAEF660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4578494"/>
              <a:ext cx="2709127" cy="6927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Prodotti</a:t>
              </a:r>
              <a:r>
                <a:rPr lang="it-IT" sz="1531">
                  <a:solidFill>
                    <a:srgbClr val="000000"/>
                  </a:solidFill>
                  <a:ea typeface="MS PGothic" panose="020B0600070205080204" pitchFamily="34" charset="-128"/>
                </a:rPr>
                <a:t> totalmente </a:t>
              </a: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riutilizzabili, riciclabili o compostabili</a:t>
              </a:r>
            </a:p>
          </p:txBody>
        </p:sp>
        <p:pic>
          <p:nvPicPr>
            <p:cNvPr id="422926" name="Picture 14" descr="https://static.thenounproject.com/png/2682699-200.png">
              <a:extLst>
                <a:ext uri="{FF2B5EF4-FFF2-40B4-BE49-F238E27FC236}">
                  <a16:creationId xmlns:a16="http://schemas.microsoft.com/office/drawing/2014/main" id="{40BCEB38-D691-40A0-B53C-68464B0A3F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5595" y="4582083"/>
              <a:ext cx="606991" cy="606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1378332-CE39-4C80-BC36-1A2A2AC6DE50}"/>
              </a:ext>
            </a:extLst>
          </p:cNvPr>
          <p:cNvGrpSpPr/>
          <p:nvPr/>
        </p:nvGrpSpPr>
        <p:grpSpPr>
          <a:xfrm>
            <a:off x="535944" y="5529853"/>
            <a:ext cx="3585858" cy="691621"/>
            <a:chOff x="3270137" y="5419730"/>
            <a:chExt cx="3514524" cy="677906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A2A9380-F21F-4630-9FC7-CE73A79FF028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5513100"/>
              <a:ext cx="2709127" cy="47119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53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Tecnologie innovative per </a:t>
              </a:r>
              <a:r>
                <a:rPr kumimoji="0" lang="it-IT" sz="1531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modelli </a:t>
              </a:r>
              <a:r>
                <a:rPr kumimoji="0" lang="it-IT" sz="153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di </a:t>
              </a:r>
              <a:r>
                <a:rPr kumimoji="0" lang="it-IT" sz="1531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business circolari</a:t>
              </a:r>
            </a:p>
          </p:txBody>
        </p:sp>
        <p:sp>
          <p:nvSpPr>
            <p:cNvPr id="49" name="TitleTrackerNum 6">
              <a:extLst>
                <a:ext uri="{FF2B5EF4-FFF2-40B4-BE49-F238E27FC236}">
                  <a16:creationId xmlns:a16="http://schemas.microsoft.com/office/drawing/2014/main" id="{B72D549E-ADAD-4840-9608-1E8BF069ADAC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3270137" y="5419730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422931" name="Picture 19" descr="https://static.thenounproject.com/png/1657689-200.png">
              <a:extLst>
                <a:ext uri="{FF2B5EF4-FFF2-40B4-BE49-F238E27FC236}">
                  <a16:creationId xmlns:a16="http://schemas.microsoft.com/office/drawing/2014/main" id="{A069ABFA-4CF6-45CB-80B0-A7BE79417D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1070" y="5530672"/>
              <a:ext cx="456041" cy="456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FC6F4F6-7265-484E-AF35-CF13B0123BC5}"/>
              </a:ext>
            </a:extLst>
          </p:cNvPr>
          <p:cNvGrpSpPr/>
          <p:nvPr/>
        </p:nvGrpSpPr>
        <p:grpSpPr>
          <a:xfrm>
            <a:off x="535944" y="1966472"/>
            <a:ext cx="3585858" cy="710107"/>
            <a:chOff x="3270137" y="1927286"/>
            <a:chExt cx="3514524" cy="696025"/>
          </a:xfrm>
        </p:grpSpPr>
        <p:sp>
          <p:nvSpPr>
            <p:cNvPr id="37" name="TitleTrackerNum 6">
              <a:extLst>
                <a:ext uri="{FF2B5EF4-FFF2-40B4-BE49-F238E27FC236}">
                  <a16:creationId xmlns:a16="http://schemas.microsoft.com/office/drawing/2014/main" id="{ED994114-1CCA-4FAE-9E4C-957F9BC5469E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3270137" y="1927286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274E38B-B71B-4A86-954D-6F275B7B2A65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1930593"/>
              <a:ext cx="2709127" cy="6927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531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Estensione</a:t>
              </a:r>
              <a:r>
                <a:rPr kumimoji="0" lang="it-IT" sz="153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 della </a:t>
              </a:r>
              <a:r>
                <a:rPr kumimoji="0" lang="it-IT" sz="1531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+mn-cs"/>
                  <a:sym typeface="Century Gothic" panose="020B0502020202020204" pitchFamily="34" charset="0"/>
                </a:rPr>
                <a:t>vita utile </a:t>
              </a:r>
              <a:r>
                <a:rPr lang="it-IT" sz="1531">
                  <a:solidFill>
                    <a:srgbClr val="000000"/>
                  </a:solidFill>
                  <a:ea typeface="MS PGothic" panose="020B0600070205080204" pitchFamily="34" charset="-128"/>
                </a:rPr>
                <a:t>del prodotto o dei cicli di utilizzo di beni e/o materiali</a:t>
              </a:r>
            </a:p>
          </p:txBody>
        </p:sp>
        <p:pic>
          <p:nvPicPr>
            <p:cNvPr id="422933" name="Picture 21" descr="https://static.thenounproject.com/png/2392740-200.png">
              <a:extLst>
                <a:ext uri="{FF2B5EF4-FFF2-40B4-BE49-F238E27FC236}">
                  <a16:creationId xmlns:a16="http://schemas.microsoft.com/office/drawing/2014/main" id="{67590BE0-E324-49D4-ADCA-76BFAB2F7F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5595" y="1962744"/>
              <a:ext cx="606991" cy="606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oup 19">
            <a:extLst>
              <a:ext uri="{FF2B5EF4-FFF2-40B4-BE49-F238E27FC236}">
                <a16:creationId xmlns:a16="http://schemas.microsoft.com/office/drawing/2014/main" id="{FF623E66-79B6-404D-A0EE-DB9850AA149A}"/>
              </a:ext>
            </a:extLst>
          </p:cNvPr>
          <p:cNvGrpSpPr/>
          <p:nvPr/>
        </p:nvGrpSpPr>
        <p:grpSpPr bwMode="gray">
          <a:xfrm>
            <a:off x="8067742" y="3759001"/>
            <a:ext cx="181411" cy="429233"/>
            <a:chOff x="6780812" y="3385011"/>
            <a:chExt cx="241430" cy="286607"/>
          </a:xfrm>
        </p:grpSpPr>
        <p:sp>
          <p:nvSpPr>
            <p:cNvPr id="67" name="Isosceles Triangle 20">
              <a:extLst>
                <a:ext uri="{FF2B5EF4-FFF2-40B4-BE49-F238E27FC236}">
                  <a16:creationId xmlns:a16="http://schemas.microsoft.com/office/drawing/2014/main" id="{68F2A6DC-F759-4E85-9B85-D47DE7040CC9}"/>
                </a:ext>
              </a:extLst>
            </p:cNvPr>
            <p:cNvSpPr/>
            <p:nvPr/>
          </p:nvSpPr>
          <p:spPr bwMode="gray">
            <a:xfrm rot="5400000">
              <a:off x="6790912" y="3440289"/>
              <a:ext cx="286607" cy="176052"/>
            </a:xfrm>
            <a:prstGeom prst="triangl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Isosceles Triangle 21">
              <a:extLst>
                <a:ext uri="{FF2B5EF4-FFF2-40B4-BE49-F238E27FC236}">
                  <a16:creationId xmlns:a16="http://schemas.microsoft.com/office/drawing/2014/main" id="{68B6C533-471F-472E-9A5C-F342A0EF6BE6}"/>
                </a:ext>
              </a:extLst>
            </p:cNvPr>
            <p:cNvSpPr/>
            <p:nvPr/>
          </p:nvSpPr>
          <p:spPr bwMode="gray">
            <a:xfrm rot="5400000">
              <a:off x="6732242" y="3450969"/>
              <a:ext cx="251830" cy="154690"/>
            </a:xfrm>
            <a:prstGeom prst="triangle">
              <a:avLst/>
            </a:prstGeom>
            <a:solidFill>
              <a:schemeClr val="accent4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9" name="VerticalLine4 16">
            <a:extLst>
              <a:ext uri="{FF2B5EF4-FFF2-40B4-BE49-F238E27FC236}">
                <a16:creationId xmlns:a16="http://schemas.microsoft.com/office/drawing/2014/main" id="{83D1FF9A-314C-464B-8067-965ECC6CC37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8126391" y="1549044"/>
            <a:ext cx="0" cy="2044753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olo 11">
            <a:extLst>
              <a:ext uri="{FF2B5EF4-FFF2-40B4-BE49-F238E27FC236}">
                <a16:creationId xmlns:a16="http://schemas.microsoft.com/office/drawing/2014/main" id="{BFA58B3C-C90B-4E49-86BD-0D97FC70B4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Trasformazione del sistema produttivo in ottica CE 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895B8ED6-8D5C-7A4B-8346-95D2D64524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1286" y="860426"/>
            <a:ext cx="11736914" cy="292373"/>
          </a:xfrm>
        </p:spPr>
        <p:txBody>
          <a:bodyPr/>
          <a:lstStyle/>
          <a:p>
            <a:r>
              <a:rPr lang="it-IT" sz="2000">
                <a:solidFill>
                  <a:srgbClr val="000000">
                    <a:lumMod val="50000"/>
                    <a:lumOff val="50000"/>
                  </a:srgbClr>
                </a:solidFill>
              </a:rPr>
              <a:t>Le nostre azioni concrete per lo sviluppo della </a:t>
            </a:r>
            <a:r>
              <a:rPr lang="it-IT" sz="2000" err="1">
                <a:solidFill>
                  <a:srgbClr val="000000">
                    <a:lumMod val="50000"/>
                    <a:lumOff val="50000"/>
                  </a:srgbClr>
                </a:solidFill>
              </a:rPr>
              <a:t>Circular</a:t>
            </a:r>
            <a:r>
              <a:rPr lang="it-IT" sz="2000">
                <a:solidFill>
                  <a:srgbClr val="000000">
                    <a:lumMod val="50000"/>
                    <a:lumOff val="50000"/>
                  </a:srgbClr>
                </a:solidFill>
              </a:rPr>
              <a:t> Economy in Italia e nel Mondo</a:t>
            </a:r>
          </a:p>
          <a:p>
            <a:endParaRPr lang="it-IT"/>
          </a:p>
        </p:txBody>
      </p:sp>
      <p:sp>
        <p:nvSpPr>
          <p:cNvPr id="64" name="TextBox 57">
            <a:extLst>
              <a:ext uri="{FF2B5EF4-FFF2-40B4-BE49-F238E27FC236}">
                <a16:creationId xmlns:a16="http://schemas.microsoft.com/office/drawing/2014/main" id="{B0687B97-583E-433B-BBD6-82CE72025C58}"/>
              </a:ext>
            </a:extLst>
          </p:cNvPr>
          <p:cNvSpPr txBox="1">
            <a:spLocks/>
          </p:cNvSpPr>
          <p:nvPr/>
        </p:nvSpPr>
        <p:spPr bwMode="gray">
          <a:xfrm>
            <a:off x="7924806" y="4808742"/>
            <a:ext cx="1200095" cy="62799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408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MS PGothic"/>
                <a:cs typeface="+mn-cs"/>
                <a:sym typeface="Century Gothic" panose="020B0502020202020204" pitchFamily="34" charset="0"/>
              </a:rPr>
              <a:t>3,1</a:t>
            </a:r>
            <a:r>
              <a:rPr kumimoji="0" lang="it-IT" sz="2041" b="1" i="0" u="none" strike="noStrike" kern="1200" cap="none" spc="0" normalizeH="0" baseline="9000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 panose="020B0502020202020204" pitchFamily="34" charset="0"/>
              </a:rPr>
              <a:t> </a:t>
            </a:r>
            <a:endParaRPr kumimoji="0" lang="it-IT" sz="408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2" name="TextBox 58">
            <a:extLst>
              <a:ext uri="{FF2B5EF4-FFF2-40B4-BE49-F238E27FC236}">
                <a16:creationId xmlns:a16="http://schemas.microsoft.com/office/drawing/2014/main" id="{8AECBEA3-61E5-431F-9D7E-5DF68F657C05}"/>
              </a:ext>
            </a:extLst>
          </p:cNvPr>
          <p:cNvSpPr txBox="1">
            <a:spLocks/>
          </p:cNvSpPr>
          <p:nvPr/>
        </p:nvSpPr>
        <p:spPr bwMode="gray">
          <a:xfrm>
            <a:off x="9556684" y="4927237"/>
            <a:ext cx="2582553" cy="706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Mld EUR di finanziamenti erogati nel 2022</a:t>
            </a:r>
            <a:br>
              <a:rPr kumimoji="0" lang="it-IT" sz="15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</a:br>
            <a:endParaRPr kumimoji="0" lang="it-IT" sz="153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cxnSp>
        <p:nvCxnSpPr>
          <p:cNvPr id="41" name="VerticalLine4 16">
            <a:extLst>
              <a:ext uri="{FF2B5EF4-FFF2-40B4-BE49-F238E27FC236}">
                <a16:creationId xmlns:a16="http://schemas.microsoft.com/office/drawing/2014/main" id="{C7232DF2-181A-634E-90C4-521C72FC74A6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8127075" y="4428402"/>
            <a:ext cx="0" cy="2044753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29">
            <a:extLst>
              <a:ext uri="{FF2B5EF4-FFF2-40B4-BE49-F238E27FC236}">
                <a16:creationId xmlns:a16="http://schemas.microsoft.com/office/drawing/2014/main" id="{704C4A97-99C6-43E4-A723-FDFBB58ECE9C}"/>
              </a:ext>
            </a:extLst>
          </p:cNvPr>
          <p:cNvSpPr txBox="1">
            <a:spLocks/>
          </p:cNvSpPr>
          <p:nvPr/>
        </p:nvSpPr>
        <p:spPr bwMode="gray">
          <a:xfrm>
            <a:off x="4228084" y="1254543"/>
            <a:ext cx="3463888" cy="2355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1218021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Pct val="100000"/>
              <a:buFontTx/>
              <a:buNone/>
              <a:tabLst/>
              <a:defRPr/>
            </a:pPr>
            <a:r>
              <a: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  <a:sym typeface="Century Gothic" panose="020B0502020202020204" pitchFamily="34" charset="0"/>
              </a:rPr>
              <a:t>Criteri green Economy</a:t>
            </a:r>
            <a:endParaRPr kumimoji="0" lang="it-IT" sz="1531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  <a:sym typeface="Century Gothic" panose="020B0502020202020204" pitchFamily="34" charset="0"/>
            </a:endParaRPr>
          </a:p>
        </p:txBody>
      </p:sp>
      <p:cxnSp>
        <p:nvCxnSpPr>
          <p:cNvPr id="45" name="Straight Connector 30">
            <a:extLst>
              <a:ext uri="{FF2B5EF4-FFF2-40B4-BE49-F238E27FC236}">
                <a16:creationId xmlns:a16="http://schemas.microsoft.com/office/drawing/2014/main" id="{367F68DC-E764-4443-9677-51411CBEBE58}"/>
              </a:ext>
            </a:extLst>
          </p:cNvPr>
          <p:cNvCxnSpPr>
            <a:cxnSpLocks/>
          </p:cNvCxnSpPr>
          <p:nvPr/>
        </p:nvCxnSpPr>
        <p:spPr>
          <a:xfrm>
            <a:off x="4241448" y="1848246"/>
            <a:ext cx="346388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6">
            <a:extLst>
              <a:ext uri="{FF2B5EF4-FFF2-40B4-BE49-F238E27FC236}">
                <a16:creationId xmlns:a16="http://schemas.microsoft.com/office/drawing/2014/main" id="{5F5D6AA9-6BD3-4700-8C87-40FDF38D2F87}"/>
              </a:ext>
            </a:extLst>
          </p:cNvPr>
          <p:cNvGrpSpPr/>
          <p:nvPr/>
        </p:nvGrpSpPr>
        <p:grpSpPr>
          <a:xfrm>
            <a:off x="4450331" y="2857881"/>
            <a:ext cx="3587075" cy="691621"/>
            <a:chOff x="3270137" y="2800399"/>
            <a:chExt cx="3515717" cy="677906"/>
          </a:xfrm>
        </p:grpSpPr>
        <p:sp>
          <p:nvSpPr>
            <p:cNvPr id="48" name="TitleTrackerNum 6">
              <a:extLst>
                <a:ext uri="{FF2B5EF4-FFF2-40B4-BE49-F238E27FC236}">
                  <a16:creationId xmlns:a16="http://schemas.microsoft.com/office/drawing/2014/main" id="{28143069-8AD7-453D-A843-46B45932421F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270137" y="2800399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TextBox 50">
              <a:extLst>
                <a:ext uri="{FF2B5EF4-FFF2-40B4-BE49-F238E27FC236}">
                  <a16:creationId xmlns:a16="http://schemas.microsoft.com/office/drawing/2014/main" id="{80A8D885-836F-4416-9847-3BDE0873DC1A}"/>
                </a:ext>
              </a:extLst>
            </p:cNvPr>
            <p:cNvSpPr txBox="1">
              <a:spLocks/>
            </p:cNvSpPr>
            <p:nvPr/>
          </p:nvSpPr>
          <p:spPr>
            <a:xfrm>
              <a:off x="4076727" y="3021438"/>
              <a:ext cx="2709127" cy="2309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21" fontAlgn="base"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Efficienza Energetica</a:t>
              </a:r>
            </a:p>
          </p:txBody>
        </p:sp>
        <p:pic>
          <p:nvPicPr>
            <p:cNvPr id="60" name="Picture 8" descr="https://static.thenounproject.com/png/1014192-200.png">
              <a:extLst>
                <a:ext uri="{FF2B5EF4-FFF2-40B4-BE49-F238E27FC236}">
                  <a16:creationId xmlns:a16="http://schemas.microsoft.com/office/drawing/2014/main" id="{15F30348-BF89-43CF-A568-0D2CCD50E8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4342" y="2888530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1" name="Group 14">
            <a:extLst>
              <a:ext uri="{FF2B5EF4-FFF2-40B4-BE49-F238E27FC236}">
                <a16:creationId xmlns:a16="http://schemas.microsoft.com/office/drawing/2014/main" id="{D7508981-0D21-4215-9AE1-4BB534607A3B}"/>
              </a:ext>
            </a:extLst>
          </p:cNvPr>
          <p:cNvGrpSpPr/>
          <p:nvPr/>
        </p:nvGrpSpPr>
        <p:grpSpPr>
          <a:xfrm>
            <a:off x="4450331" y="2124173"/>
            <a:ext cx="3585858" cy="2363578"/>
            <a:chOff x="3270137" y="2081169"/>
            <a:chExt cx="3514524" cy="2316707"/>
          </a:xfrm>
        </p:grpSpPr>
        <p:sp>
          <p:nvSpPr>
            <p:cNvPr id="62" name="TitleTrackerNum 6">
              <a:extLst>
                <a:ext uri="{FF2B5EF4-FFF2-40B4-BE49-F238E27FC236}">
                  <a16:creationId xmlns:a16="http://schemas.microsoft.com/office/drawing/2014/main" id="{AC47C3A5-6E5A-4ABA-AE31-0BB156D7BAA6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3270137" y="3673512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TextBox 51">
              <a:extLst>
                <a:ext uri="{FF2B5EF4-FFF2-40B4-BE49-F238E27FC236}">
                  <a16:creationId xmlns:a16="http://schemas.microsoft.com/office/drawing/2014/main" id="{6F701086-8940-4B98-AE2E-1A13BA761607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3705159"/>
              <a:ext cx="2709127" cy="6927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Gestione ecosostenibile delle risorse naturali e del suolo, biodiversità</a:t>
              </a:r>
            </a:p>
          </p:txBody>
        </p:sp>
        <p:pic>
          <p:nvPicPr>
            <p:cNvPr id="65" name="Picture 12" descr="https://static.thenounproject.com/png/2895066-200.png">
              <a:extLst>
                <a:ext uri="{FF2B5EF4-FFF2-40B4-BE49-F238E27FC236}">
                  <a16:creationId xmlns:a16="http://schemas.microsoft.com/office/drawing/2014/main" id="{9DE28798-A387-4A42-847D-713D7C668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7782" y="2081169"/>
              <a:ext cx="376894" cy="376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15">
            <a:extLst>
              <a:ext uri="{FF2B5EF4-FFF2-40B4-BE49-F238E27FC236}">
                <a16:creationId xmlns:a16="http://schemas.microsoft.com/office/drawing/2014/main" id="{18A54D5D-6DC4-488F-9B4A-9BF3BC751DFD}"/>
              </a:ext>
            </a:extLst>
          </p:cNvPr>
          <p:cNvGrpSpPr/>
          <p:nvPr/>
        </p:nvGrpSpPr>
        <p:grpSpPr>
          <a:xfrm>
            <a:off x="4450331" y="3761407"/>
            <a:ext cx="3585858" cy="1569792"/>
            <a:chOff x="3270137" y="3685869"/>
            <a:chExt cx="3514524" cy="1538662"/>
          </a:xfrm>
        </p:grpSpPr>
        <p:sp>
          <p:nvSpPr>
            <p:cNvPr id="71" name="TitleTrackerNum 6">
              <a:extLst>
                <a:ext uri="{FF2B5EF4-FFF2-40B4-BE49-F238E27FC236}">
                  <a16:creationId xmlns:a16="http://schemas.microsoft.com/office/drawing/2014/main" id="{7C688E2B-B51F-4779-99C3-330CF3F1E9FD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270137" y="4546625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TextBox 52">
              <a:extLst>
                <a:ext uri="{FF2B5EF4-FFF2-40B4-BE49-F238E27FC236}">
                  <a16:creationId xmlns:a16="http://schemas.microsoft.com/office/drawing/2014/main" id="{B893564C-D2C9-48A2-BDF1-D0EDD62FC29C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4769569"/>
              <a:ext cx="2709127" cy="23090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Mobilità sostenibile</a:t>
              </a:r>
            </a:p>
          </p:txBody>
        </p:sp>
        <p:pic>
          <p:nvPicPr>
            <p:cNvPr id="74" name="Picture 14" descr="https://static.thenounproject.com/png/2682699-200.png">
              <a:extLst>
                <a:ext uri="{FF2B5EF4-FFF2-40B4-BE49-F238E27FC236}">
                  <a16:creationId xmlns:a16="http://schemas.microsoft.com/office/drawing/2014/main" id="{6C42F452-09D7-41DA-A53B-6A217E2DC2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3130" y="3685869"/>
              <a:ext cx="606991" cy="606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18">
            <a:extLst>
              <a:ext uri="{FF2B5EF4-FFF2-40B4-BE49-F238E27FC236}">
                <a16:creationId xmlns:a16="http://schemas.microsoft.com/office/drawing/2014/main" id="{D7AF5BCF-40B4-4AF7-81C3-FBA2B5893324}"/>
              </a:ext>
            </a:extLst>
          </p:cNvPr>
          <p:cNvGrpSpPr/>
          <p:nvPr/>
        </p:nvGrpSpPr>
        <p:grpSpPr>
          <a:xfrm>
            <a:off x="4450331" y="5530417"/>
            <a:ext cx="3585858" cy="691621"/>
            <a:chOff x="3270137" y="5419730"/>
            <a:chExt cx="3514524" cy="677906"/>
          </a:xfrm>
        </p:grpSpPr>
        <p:sp>
          <p:nvSpPr>
            <p:cNvPr id="76" name="TextBox 53">
              <a:extLst>
                <a:ext uri="{FF2B5EF4-FFF2-40B4-BE49-F238E27FC236}">
                  <a16:creationId xmlns:a16="http://schemas.microsoft.com/office/drawing/2014/main" id="{DD3AF000-4D95-47DA-8BFA-4305F9BA08FF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5632690"/>
              <a:ext cx="2709127" cy="2309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Costruzioni verdi</a:t>
              </a:r>
            </a:p>
          </p:txBody>
        </p:sp>
        <p:sp>
          <p:nvSpPr>
            <p:cNvPr id="77" name="TitleTrackerNum 6">
              <a:extLst>
                <a:ext uri="{FF2B5EF4-FFF2-40B4-BE49-F238E27FC236}">
                  <a16:creationId xmlns:a16="http://schemas.microsoft.com/office/drawing/2014/main" id="{C924D86A-06F6-4108-9A75-655971F785BD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270137" y="5419730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78" name="Picture 19" descr="https://static.thenounproject.com/png/1657689-200.png">
              <a:extLst>
                <a:ext uri="{FF2B5EF4-FFF2-40B4-BE49-F238E27FC236}">
                  <a16:creationId xmlns:a16="http://schemas.microsoft.com/office/drawing/2014/main" id="{3A8925F9-12D8-4364-8B5A-24DCF273A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1070" y="5530672"/>
              <a:ext cx="456041" cy="456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9" name="Group 4">
            <a:extLst>
              <a:ext uri="{FF2B5EF4-FFF2-40B4-BE49-F238E27FC236}">
                <a16:creationId xmlns:a16="http://schemas.microsoft.com/office/drawing/2014/main" id="{B9CFC650-7DEC-427B-8B75-DF4BC3F81717}"/>
              </a:ext>
            </a:extLst>
          </p:cNvPr>
          <p:cNvGrpSpPr/>
          <p:nvPr/>
        </p:nvGrpSpPr>
        <p:grpSpPr>
          <a:xfrm>
            <a:off x="4450331" y="1967035"/>
            <a:ext cx="3585858" cy="3323759"/>
            <a:chOff x="3270137" y="1927286"/>
            <a:chExt cx="3514524" cy="3257848"/>
          </a:xfrm>
        </p:grpSpPr>
        <p:sp>
          <p:nvSpPr>
            <p:cNvPr id="80" name="TitleTrackerNum 6">
              <a:extLst>
                <a:ext uri="{FF2B5EF4-FFF2-40B4-BE49-F238E27FC236}">
                  <a16:creationId xmlns:a16="http://schemas.microsoft.com/office/drawing/2014/main" id="{08738C18-0261-475C-BBD5-713324E3EE1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270137" y="1927286"/>
              <a:ext cx="677906" cy="677906"/>
            </a:xfrm>
            <a:prstGeom prst="ellipse">
              <a:avLst/>
            </a:prstGeom>
            <a:ln w="63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90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3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TextBox 49">
              <a:extLst>
                <a:ext uri="{FF2B5EF4-FFF2-40B4-BE49-F238E27FC236}">
                  <a16:creationId xmlns:a16="http://schemas.microsoft.com/office/drawing/2014/main" id="{0A627C7A-B15D-4F93-8DB2-27B1D15C9BF9}"/>
                </a:ext>
              </a:extLst>
            </p:cNvPr>
            <p:cNvSpPr txBox="1">
              <a:spLocks/>
            </p:cNvSpPr>
            <p:nvPr/>
          </p:nvSpPr>
          <p:spPr>
            <a:xfrm>
              <a:off x="4075534" y="2141484"/>
              <a:ext cx="2709127" cy="2309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218021" rtl="0" eaLnBrk="1" fontAlgn="base" latinLnBrk="0" hangingPunct="1">
                <a:lnSpc>
                  <a:spcPct val="100000"/>
                </a:lnSpc>
                <a:spcBef>
                  <a:spcPts val="1224"/>
                </a:spcBef>
                <a:spcAft>
                  <a:spcPct val="0"/>
                </a:spcAft>
                <a:buClr>
                  <a:srgbClr val="003A79"/>
                </a:buClr>
                <a:buSzPct val="100000"/>
                <a:buFontTx/>
                <a:buNone/>
                <a:tabLst/>
                <a:defRPr/>
              </a:pPr>
              <a:r>
                <a:rPr lang="it-IT" sz="1531" b="1">
                  <a:solidFill>
                    <a:srgbClr val="406B9B"/>
                  </a:solidFill>
                  <a:ea typeface="MS PGothic" panose="020B0600070205080204" pitchFamily="34" charset="-128"/>
                </a:rPr>
                <a:t>Energia Rinnovabile</a:t>
              </a:r>
            </a:p>
          </p:txBody>
        </p:sp>
        <p:pic>
          <p:nvPicPr>
            <p:cNvPr id="82" name="Picture 21" descr="https://static.thenounproject.com/png/2392740-200.png">
              <a:extLst>
                <a:ext uri="{FF2B5EF4-FFF2-40B4-BE49-F238E27FC236}">
                  <a16:creationId xmlns:a16="http://schemas.microsoft.com/office/drawing/2014/main" id="{A070BCE2-8A9A-43B5-AC9D-9AC17C4E84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2734" y="4578143"/>
              <a:ext cx="606991" cy="606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3" name="Straight Connector 30">
            <a:extLst>
              <a:ext uri="{FF2B5EF4-FFF2-40B4-BE49-F238E27FC236}">
                <a16:creationId xmlns:a16="http://schemas.microsoft.com/office/drawing/2014/main" id="{04B2FF37-CFF8-4B11-82A6-B8CA3EFC36BF}"/>
              </a:ext>
            </a:extLst>
          </p:cNvPr>
          <p:cNvCxnSpPr>
            <a:cxnSpLocks/>
          </p:cNvCxnSpPr>
          <p:nvPr/>
        </p:nvCxnSpPr>
        <p:spPr>
          <a:xfrm>
            <a:off x="8369887" y="1847682"/>
            <a:ext cx="346388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282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olo 1">
            <a:extLst>
              <a:ext uri="{FF2B5EF4-FFF2-40B4-BE49-F238E27FC236}">
                <a16:creationId xmlns:a16="http://schemas.microsoft.com/office/drawing/2014/main" id="{8BA7CCCC-E913-4DED-AEB3-62E5BA0BC532}"/>
              </a:ext>
            </a:extLst>
          </p:cNvPr>
          <p:cNvSpPr txBox="1">
            <a:spLocks/>
          </p:cNvSpPr>
          <p:nvPr/>
        </p:nvSpPr>
        <p:spPr>
          <a:xfrm>
            <a:off x="531366" y="958887"/>
            <a:ext cx="11772654" cy="355595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defTabSz="609582" fontAlgn="auto">
              <a:spcAft>
                <a:spcPts val="0"/>
              </a:spcAft>
              <a:defRPr/>
            </a:pPr>
            <a:endParaRPr lang="en-US" sz="2133">
              <a:solidFill>
                <a:prstClr val="black">
                  <a:lumMod val="50000"/>
                  <a:lumOff val="50000"/>
                </a:prstClr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28" name="Titolo 1">
            <a:extLst>
              <a:ext uri="{FF2B5EF4-FFF2-40B4-BE49-F238E27FC236}">
                <a16:creationId xmlns:a16="http://schemas.microsoft.com/office/drawing/2014/main" id="{6E011030-8EFD-4853-9EBF-2E408FA8DA78}"/>
              </a:ext>
            </a:extLst>
          </p:cNvPr>
          <p:cNvSpPr txBox="1">
            <a:spLocks/>
          </p:cNvSpPr>
          <p:nvPr/>
        </p:nvSpPr>
        <p:spPr>
          <a:xfrm>
            <a:off x="661982" y="406857"/>
            <a:ext cx="11324497" cy="3577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defTabSz="609582" fontAlgn="auto">
              <a:spcAft>
                <a:spcPts val="0"/>
              </a:spcAft>
              <a:defRPr/>
            </a:pPr>
            <a:endParaRPr lang="it-IT" sz="2653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29" name="Titolo 1">
            <a:extLst>
              <a:ext uri="{FF2B5EF4-FFF2-40B4-BE49-F238E27FC236}">
                <a16:creationId xmlns:a16="http://schemas.microsoft.com/office/drawing/2014/main" id="{3A097813-2F93-4D6A-B311-26522CCCF04F}"/>
              </a:ext>
            </a:extLst>
          </p:cNvPr>
          <p:cNvSpPr txBox="1">
            <a:spLocks/>
          </p:cNvSpPr>
          <p:nvPr/>
        </p:nvSpPr>
        <p:spPr>
          <a:xfrm>
            <a:off x="7112209" y="1538007"/>
            <a:ext cx="11772654" cy="35559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it-IT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defTabSz="609582" fontAlgn="auto">
              <a:spcAft>
                <a:spcPts val="0"/>
              </a:spcAft>
              <a:defRPr/>
            </a:pPr>
            <a:endParaRPr lang="en-US" sz="1632">
              <a:solidFill>
                <a:prstClr val="black">
                  <a:lumMod val="50000"/>
                  <a:lumOff val="50000"/>
                </a:prstClr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51" name="CasellaDiTesto 76">
            <a:extLst>
              <a:ext uri="{FF2B5EF4-FFF2-40B4-BE49-F238E27FC236}">
                <a16:creationId xmlns:a16="http://schemas.microsoft.com/office/drawing/2014/main" id="{E5F230B8-5AC8-4574-8EBF-D996A337CE4D}"/>
              </a:ext>
            </a:extLst>
          </p:cNvPr>
          <p:cNvSpPr txBox="1"/>
          <p:nvPr/>
        </p:nvSpPr>
        <p:spPr>
          <a:xfrm>
            <a:off x="4386473" y="1830202"/>
            <a:ext cx="2797140" cy="414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41" b="1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ircular Connection</a:t>
            </a: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CEE0FDC5-A53B-491A-90E0-D9CEF2763BCA}"/>
              </a:ext>
            </a:extLst>
          </p:cNvPr>
          <p:cNvSpPr/>
          <p:nvPr/>
        </p:nvSpPr>
        <p:spPr>
          <a:xfrm>
            <a:off x="869041" y="6204361"/>
            <a:ext cx="955906" cy="5648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t-IT" sz="2133" b="1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CasellaDiTesto 5">
            <a:extLst>
              <a:ext uri="{FF2B5EF4-FFF2-40B4-BE49-F238E27FC236}">
                <a16:creationId xmlns:a16="http://schemas.microsoft.com/office/drawing/2014/main" id="{BA307D4C-4559-4984-B3FE-C0CC7E658750}"/>
              </a:ext>
            </a:extLst>
          </p:cNvPr>
          <p:cNvSpPr txBox="1"/>
          <p:nvPr/>
        </p:nvSpPr>
        <p:spPr>
          <a:xfrm>
            <a:off x="399315" y="4137937"/>
            <a:ext cx="3487439" cy="1036005"/>
          </a:xfrm>
          <a:prstGeom prst="rect">
            <a:avLst/>
          </a:prstGeom>
          <a:noFill/>
        </p:spPr>
        <p:txBody>
          <a:bodyPr wrap="square" lIns="93297" tIns="46649" rIns="93297" bIns="46649" rtlCol="0" anchor="t">
            <a:spAutoFit/>
          </a:bodyPr>
          <a:lstStyle>
            <a:defPPr>
              <a:defRPr lang="en-US"/>
            </a:defPPr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</a:defRPr>
            </a:lvl1pPr>
          </a:lstStyle>
          <a:p>
            <a:pPr marL="0" indent="0" defTabSz="609582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1067"/>
              </a:spcAft>
              <a:buNone/>
            </a:pPr>
            <a:r>
              <a:rPr lang="it-IT" sz="1530">
                <a:solidFill>
                  <a:prstClr val="black"/>
                </a:solidFill>
                <a:ea typeface="MS PGothic" panose="020B0600070205080204" pitchFamily="34" charset="-128"/>
              </a:rPr>
              <a:t>Progettato un </a:t>
            </a:r>
            <a:r>
              <a:rPr lang="it-IT" sz="1530" b="1">
                <a:solidFill>
                  <a:srgbClr val="406B9B"/>
                </a:solidFill>
                <a:ea typeface="MS PGothic" panose="020B0600070205080204" pitchFamily="34" charset="-128"/>
              </a:rPr>
              <a:t>corso di alta formazione</a:t>
            </a:r>
            <a:r>
              <a:rPr lang="it-IT" sz="1530" b="1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it-IT" sz="1530">
                <a:solidFill>
                  <a:prstClr val="black"/>
                </a:solidFill>
                <a:ea typeface="MS PGothic" panose="020B0600070205080204" pitchFamily="34" charset="-128"/>
              </a:rPr>
              <a:t>su CE e nuovi modelli di business con ISP Formazione, </a:t>
            </a:r>
            <a:r>
              <a:rPr lang="it-IT" sz="1530" err="1">
                <a:solidFill>
                  <a:prstClr val="black"/>
                </a:solidFill>
                <a:ea typeface="MS PGothic" panose="020B0600070205080204" pitchFamily="34" charset="-128"/>
              </a:rPr>
              <a:t>CeTIF</a:t>
            </a:r>
            <a:r>
              <a:rPr lang="it-IT" sz="1530">
                <a:solidFill>
                  <a:prstClr val="black"/>
                </a:solidFill>
                <a:ea typeface="MS PGothic" panose="020B0600070205080204" pitchFamily="34" charset="-128"/>
              </a:rPr>
              <a:t> e Uni. Cattolica</a:t>
            </a:r>
          </a:p>
        </p:txBody>
      </p:sp>
      <p:sp>
        <p:nvSpPr>
          <p:cNvPr id="58" name="CasellaDiTesto 13">
            <a:extLst>
              <a:ext uri="{FF2B5EF4-FFF2-40B4-BE49-F238E27FC236}">
                <a16:creationId xmlns:a16="http://schemas.microsoft.com/office/drawing/2014/main" id="{EC9E0ABD-D95B-454B-AF44-26F68F9FF8C0}"/>
              </a:ext>
            </a:extLst>
          </p:cNvPr>
          <p:cNvSpPr txBox="1"/>
          <p:nvPr/>
        </p:nvSpPr>
        <p:spPr>
          <a:xfrm>
            <a:off x="430105" y="1819974"/>
            <a:ext cx="2577975" cy="414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41" b="1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ircular Education</a:t>
            </a:r>
          </a:p>
        </p:txBody>
      </p:sp>
      <p:sp>
        <p:nvSpPr>
          <p:cNvPr id="56" name="CasellaDiTesto 77">
            <a:extLst>
              <a:ext uri="{FF2B5EF4-FFF2-40B4-BE49-F238E27FC236}">
                <a16:creationId xmlns:a16="http://schemas.microsoft.com/office/drawing/2014/main" id="{DFAC60F4-8635-4880-B03C-6CEC7C61310B}"/>
              </a:ext>
            </a:extLst>
          </p:cNvPr>
          <p:cNvSpPr txBox="1"/>
          <p:nvPr/>
        </p:nvSpPr>
        <p:spPr>
          <a:xfrm>
            <a:off x="8324241" y="1847475"/>
            <a:ext cx="2646668" cy="414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41" b="1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ircular Innovation</a:t>
            </a:r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8446BB7A-5B93-3248-A7C5-A5817FCD1328}"/>
              </a:ext>
            </a:extLst>
          </p:cNvPr>
          <p:cNvGrpSpPr/>
          <p:nvPr/>
        </p:nvGrpSpPr>
        <p:grpSpPr>
          <a:xfrm>
            <a:off x="8426868" y="3992323"/>
            <a:ext cx="3914319" cy="502445"/>
            <a:chOff x="689099" y="1811703"/>
            <a:chExt cx="3836395" cy="492442"/>
          </a:xfrm>
        </p:grpSpPr>
        <p:sp>
          <p:nvSpPr>
            <p:cNvPr id="26" name="TextBox 109">
              <a:extLst>
                <a:ext uri="{FF2B5EF4-FFF2-40B4-BE49-F238E27FC236}">
                  <a16:creationId xmlns:a16="http://schemas.microsoft.com/office/drawing/2014/main" id="{0678CC1B-B03E-7A4F-ACD8-67B5B603763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89099" y="1811703"/>
              <a:ext cx="934800" cy="492442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latin typeface="Century Gothic"/>
                </a:rPr>
                <a:t>+500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27" name="TextBox 110">
              <a:extLst>
                <a:ext uri="{FF2B5EF4-FFF2-40B4-BE49-F238E27FC236}">
                  <a16:creationId xmlns:a16="http://schemas.microsoft.com/office/drawing/2014/main" id="{EEAD76E2-12A2-D94F-8B87-277AB879B3C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770890" y="1954418"/>
              <a:ext cx="2754604" cy="2354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530">
                  <a:solidFill>
                    <a:srgbClr val="000000"/>
                  </a:solidFill>
                </a:rPr>
                <a:t>startup analizzate</a:t>
              </a:r>
              <a:endParaRPr lang="it-IT" sz="1530" b="1">
                <a:solidFill>
                  <a:srgbClr val="406B9B"/>
                </a:solidFill>
              </a:endParaRPr>
            </a:p>
          </p:txBody>
        </p: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3635AF78-4459-D44B-BBC1-54F1F54847B8}"/>
              </a:ext>
            </a:extLst>
          </p:cNvPr>
          <p:cNvGrpSpPr/>
          <p:nvPr/>
        </p:nvGrpSpPr>
        <p:grpSpPr>
          <a:xfrm>
            <a:off x="8477808" y="2701852"/>
            <a:ext cx="3863379" cy="512651"/>
            <a:chOff x="1386717" y="1801701"/>
            <a:chExt cx="3138777" cy="502445"/>
          </a:xfrm>
        </p:grpSpPr>
        <p:sp>
          <p:nvSpPr>
            <p:cNvPr id="31" name="TextBox 109">
              <a:extLst>
                <a:ext uri="{FF2B5EF4-FFF2-40B4-BE49-F238E27FC236}">
                  <a16:creationId xmlns:a16="http://schemas.microsoft.com/office/drawing/2014/main" id="{75678C87-C45F-C243-97D1-BD513E37FB0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86717" y="1801701"/>
              <a:ext cx="234038" cy="502445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latin typeface="Century Gothic"/>
                </a:rPr>
                <a:t>4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32" name="TextBox 110">
              <a:extLst>
                <a:ext uri="{FF2B5EF4-FFF2-40B4-BE49-F238E27FC236}">
                  <a16:creationId xmlns:a16="http://schemas.microsoft.com/office/drawing/2014/main" id="{C214BD10-F5D5-F148-A37E-2944F637673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242076" y="1820306"/>
              <a:ext cx="2283418" cy="4708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530">
                  <a:solidFill>
                    <a:prstClr val="black"/>
                  </a:solidFill>
                  <a:ea typeface="MS PGothic" panose="020B0600070205080204" pitchFamily="34" charset="-128"/>
                </a:rPr>
                <a:t>programmi di Open Innovation lanciati</a:t>
              </a:r>
              <a:endParaRPr lang="it-IT" sz="153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2BDAC3C4-AD78-B642-8AA3-DF9D706D2086}"/>
              </a:ext>
            </a:extLst>
          </p:cNvPr>
          <p:cNvGrpSpPr/>
          <p:nvPr/>
        </p:nvGrpSpPr>
        <p:grpSpPr>
          <a:xfrm>
            <a:off x="8465963" y="5187876"/>
            <a:ext cx="3914319" cy="504554"/>
            <a:chOff x="689099" y="1811704"/>
            <a:chExt cx="3836395" cy="494510"/>
          </a:xfrm>
        </p:grpSpPr>
        <p:sp>
          <p:nvSpPr>
            <p:cNvPr id="34" name="TextBox 109">
              <a:extLst>
                <a:ext uri="{FF2B5EF4-FFF2-40B4-BE49-F238E27FC236}">
                  <a16:creationId xmlns:a16="http://schemas.microsoft.com/office/drawing/2014/main" id="{2E77DC09-726A-CC46-BF94-E3B4EE65E5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89099" y="1811704"/>
              <a:ext cx="705421" cy="492442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latin typeface="Century Gothic"/>
                </a:rPr>
                <a:t>+40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35" name="TextBox 110">
              <a:extLst>
                <a:ext uri="{FF2B5EF4-FFF2-40B4-BE49-F238E27FC236}">
                  <a16:creationId xmlns:a16="http://schemas.microsoft.com/office/drawing/2014/main" id="{7C9A195E-DD12-C04B-A367-0D6CF2D69F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732572" y="1844690"/>
              <a:ext cx="2792922" cy="46152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en-US" sz="1530">
                  <a:solidFill>
                    <a:srgbClr val="000000"/>
                  </a:solidFill>
                  <a:latin typeface="Century Gothic"/>
                  <a:ea typeface="MS PGothic"/>
                </a:rPr>
                <a:t>startup per assessment            e pilot project</a:t>
              </a:r>
              <a:endParaRPr lang="it-IT" sz="1530" b="1">
                <a:solidFill>
                  <a:srgbClr val="406B9B"/>
                </a:solidFill>
              </a:endParaRPr>
            </a:p>
          </p:txBody>
        </p:sp>
      </p:grpSp>
      <p:grpSp>
        <p:nvGrpSpPr>
          <p:cNvPr id="36" name="Gruppo 35">
            <a:extLst>
              <a:ext uri="{FF2B5EF4-FFF2-40B4-BE49-F238E27FC236}">
                <a16:creationId xmlns:a16="http://schemas.microsoft.com/office/drawing/2014/main" id="{B3A90569-9691-5E4D-AC5B-0595926C381C}"/>
              </a:ext>
            </a:extLst>
          </p:cNvPr>
          <p:cNvGrpSpPr/>
          <p:nvPr/>
        </p:nvGrpSpPr>
        <p:grpSpPr>
          <a:xfrm>
            <a:off x="4489826" y="3991915"/>
            <a:ext cx="3321767" cy="502445"/>
            <a:chOff x="920747" y="1799512"/>
            <a:chExt cx="3255639" cy="492443"/>
          </a:xfrm>
        </p:grpSpPr>
        <p:sp>
          <p:nvSpPr>
            <p:cNvPr id="37" name="TextBox 109">
              <a:extLst>
                <a:ext uri="{FF2B5EF4-FFF2-40B4-BE49-F238E27FC236}">
                  <a16:creationId xmlns:a16="http://schemas.microsoft.com/office/drawing/2014/main" id="{B37B9FCB-684F-7D4B-82E2-6C9E2361A2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0747" y="1799512"/>
              <a:ext cx="521602" cy="492443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effectLst/>
                  <a:latin typeface="Century Gothic"/>
                  <a:ea typeface="Times New Roman" panose="02020603050405020304" pitchFamily="18" charset="0"/>
                  <a:cs typeface="Calibri" panose="020F0502020204030204" pitchFamily="34" charset="0"/>
                </a:rPr>
                <a:t>18</a:t>
              </a:r>
              <a:r>
                <a:rPr lang="it-IT" sz="1800"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38" name="TextBox 110">
              <a:extLst>
                <a:ext uri="{FF2B5EF4-FFF2-40B4-BE49-F238E27FC236}">
                  <a16:creationId xmlns:a16="http://schemas.microsoft.com/office/drawing/2014/main" id="{F75A9702-E8AF-814A-B38C-A4CCEBBB20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770890" y="1832498"/>
              <a:ext cx="2405496" cy="45247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500">
                  <a:solidFill>
                    <a:srgbClr val="000000"/>
                  </a:solidFill>
                  <a:latin typeface="Century Gothic"/>
                  <a:ea typeface="MS PGothic"/>
                </a:rPr>
                <a:t>interventi presso convegni/eventi su CE</a:t>
              </a:r>
              <a:endParaRPr lang="it-IT" sz="1500" b="1">
                <a:solidFill>
                  <a:srgbClr val="406B9B"/>
                </a:solidFill>
              </a:endParaRPr>
            </a:p>
          </p:txBody>
        </p:sp>
      </p:grp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F3017290-D9DA-8142-8A67-84757E90E920}"/>
              </a:ext>
            </a:extLst>
          </p:cNvPr>
          <p:cNvGrpSpPr/>
          <p:nvPr/>
        </p:nvGrpSpPr>
        <p:grpSpPr>
          <a:xfrm>
            <a:off x="4541125" y="2726230"/>
            <a:ext cx="3267516" cy="727563"/>
            <a:chOff x="1386717" y="1799512"/>
            <a:chExt cx="2786775" cy="713080"/>
          </a:xfrm>
        </p:grpSpPr>
        <p:sp>
          <p:nvSpPr>
            <p:cNvPr id="40" name="TextBox 109">
              <a:extLst>
                <a:ext uri="{FF2B5EF4-FFF2-40B4-BE49-F238E27FC236}">
                  <a16:creationId xmlns:a16="http://schemas.microsoft.com/office/drawing/2014/main" id="{734A6190-CA61-F540-9C75-A6F727F29E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86717" y="1799512"/>
              <a:ext cx="458759" cy="492443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latin typeface="Century Gothic"/>
                </a:rPr>
                <a:t>17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41" name="TextBox 110">
              <a:extLst>
                <a:ext uri="{FF2B5EF4-FFF2-40B4-BE49-F238E27FC236}">
                  <a16:creationId xmlns:a16="http://schemas.microsoft.com/office/drawing/2014/main" id="{2A83AF4D-4911-8E4B-9EF5-89E94FA28CA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080239" y="1820306"/>
              <a:ext cx="2093253" cy="69228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530">
                  <a:solidFill>
                    <a:srgbClr val="000000"/>
                  </a:solidFill>
                  <a:latin typeface="Century Gothic"/>
                  <a:ea typeface="MS PGothic"/>
                </a:rPr>
                <a:t>eventi @ESG Lab su CE in Food, Plastic, Fashion, Finance e Digital</a:t>
              </a:r>
              <a:endParaRPr lang="it-IT" sz="1530">
                <a:solidFill>
                  <a:srgbClr val="000000"/>
                </a:solidFill>
              </a:endParaRPr>
            </a:p>
          </p:txBody>
        </p:sp>
      </p:grpSp>
      <p:cxnSp>
        <p:nvCxnSpPr>
          <p:cNvPr id="46" name="VerticalLine4 16">
            <a:extLst>
              <a:ext uri="{FF2B5EF4-FFF2-40B4-BE49-F238E27FC236}">
                <a16:creationId xmlns:a16="http://schemas.microsoft.com/office/drawing/2014/main" id="{10AC39C3-6ADD-D04C-B0F7-DF8BE7F2C764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>
            <a:off x="8144700" y="1880292"/>
            <a:ext cx="0" cy="4309416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ticalLine4 16">
            <a:extLst>
              <a:ext uri="{FF2B5EF4-FFF2-40B4-BE49-F238E27FC236}">
                <a16:creationId xmlns:a16="http://schemas.microsoft.com/office/drawing/2014/main" id="{0A2541F9-4F51-FB46-A47A-55BAA25FB67B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>
            <a:off x="4208016" y="1880292"/>
            <a:ext cx="0" cy="4309416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5">
            <a:extLst>
              <a:ext uri="{FF2B5EF4-FFF2-40B4-BE49-F238E27FC236}">
                <a16:creationId xmlns:a16="http://schemas.microsoft.com/office/drawing/2014/main" id="{EA6CA9D8-E845-6A45-A06B-F580B332F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1945" y="1711830"/>
            <a:ext cx="678452" cy="67845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DF2580D2-FAEF-C948-A79B-F1AD84408D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6949" y="1648281"/>
            <a:ext cx="755332" cy="755332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6B377DE5-7E9E-5D43-B33B-8005C31085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49032" y="1683841"/>
            <a:ext cx="755332" cy="755332"/>
          </a:xfrm>
          <a:prstGeom prst="rect">
            <a:avLst/>
          </a:prstGeom>
        </p:spPr>
      </p:pic>
      <p:pic>
        <p:nvPicPr>
          <p:cNvPr id="42" name="Immagine 41">
            <a:extLst>
              <a:ext uri="{FF2B5EF4-FFF2-40B4-BE49-F238E27FC236}">
                <a16:creationId xmlns:a16="http://schemas.microsoft.com/office/drawing/2014/main" id="{B7972C15-852C-C347-B553-64DEBE3DFE0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88"/>
          <a:stretch/>
        </p:blipFill>
        <p:spPr>
          <a:xfrm>
            <a:off x="9138656" y="631153"/>
            <a:ext cx="2028211" cy="802990"/>
          </a:xfrm>
          <a:prstGeom prst="rect">
            <a:avLst/>
          </a:prstGeom>
        </p:spPr>
      </p:pic>
      <p:sp>
        <p:nvSpPr>
          <p:cNvPr id="4" name="Titolo 3">
            <a:extLst>
              <a:ext uri="{FF2B5EF4-FFF2-40B4-BE49-F238E27FC236}">
                <a16:creationId xmlns:a16="http://schemas.microsoft.com/office/drawing/2014/main" id="{DBC99592-1BF0-404A-9D97-8365A31FE0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CE Lab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C545C7F-C9BC-9C4D-981D-8772D8E88A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sz="2000">
                <a:solidFill>
                  <a:prstClr val="black">
                    <a:lumMod val="50000"/>
                    <a:lumOff val="50000"/>
                  </a:prstClr>
                </a:solidFill>
                <a:cs typeface="Arial"/>
              </a:rPr>
              <a:t>Numeri e risultati della trasformazione circolare al 2022</a:t>
            </a:r>
            <a:endParaRPr lang="en-US" sz="2000">
              <a:solidFill>
                <a:prstClr val="black">
                  <a:lumMod val="50000"/>
                  <a:lumOff val="50000"/>
                </a:prstClr>
              </a:solidFill>
              <a:cs typeface="Arial"/>
            </a:endParaRPr>
          </a:p>
        </p:txBody>
      </p: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A29392C0-9938-400F-B353-B068AB1C555F}"/>
              </a:ext>
            </a:extLst>
          </p:cNvPr>
          <p:cNvGrpSpPr/>
          <p:nvPr/>
        </p:nvGrpSpPr>
        <p:grpSpPr>
          <a:xfrm>
            <a:off x="531284" y="2738536"/>
            <a:ext cx="3267516" cy="1198462"/>
            <a:chOff x="1386717" y="1799512"/>
            <a:chExt cx="2786775" cy="1174605"/>
          </a:xfrm>
        </p:grpSpPr>
        <p:sp>
          <p:nvSpPr>
            <p:cNvPr id="45" name="TextBox 109">
              <a:extLst>
                <a:ext uri="{FF2B5EF4-FFF2-40B4-BE49-F238E27FC236}">
                  <a16:creationId xmlns:a16="http://schemas.microsoft.com/office/drawing/2014/main" id="{B2A7B592-4CB8-4CBF-A5BF-51A2D9BB94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86717" y="1799512"/>
              <a:ext cx="399210" cy="492443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3265" b="1">
                  <a:solidFill>
                    <a:srgbClr val="406B9B"/>
                  </a:solidFill>
                  <a:latin typeface="Century Gothic"/>
                </a:rPr>
                <a:t>16</a:t>
              </a:r>
              <a:endParaRPr lang="it-IT" sz="3265" baseline="90000">
                <a:solidFill>
                  <a:srgbClr val="406B9B"/>
                </a:solidFill>
                <a:latin typeface="Century Gothic"/>
              </a:endParaRPr>
            </a:p>
          </p:txBody>
        </p:sp>
        <p:sp>
          <p:nvSpPr>
            <p:cNvPr id="49" name="TextBox 110">
              <a:extLst>
                <a:ext uri="{FF2B5EF4-FFF2-40B4-BE49-F238E27FC236}">
                  <a16:creationId xmlns:a16="http://schemas.microsoft.com/office/drawing/2014/main" id="{0EAEFFFC-8B5C-4AFD-95A3-239672999F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080239" y="1820306"/>
              <a:ext cx="2093253" cy="11538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indent="0" defTabSz="609582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ts val="1067"/>
                </a:spcAft>
                <a:buNone/>
              </a:pPr>
              <a:r>
                <a:rPr lang="en-US" sz="1530" err="1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interventi</a:t>
              </a:r>
              <a:r>
                <a:rPr lang="en-US" sz="1530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 </a:t>
              </a:r>
              <a:r>
                <a:rPr lang="en-US" sz="1530" err="1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su</a:t>
              </a:r>
              <a:r>
                <a:rPr lang="en-US" sz="1530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 </a:t>
              </a:r>
              <a:r>
                <a:rPr lang="en-US" sz="1530" err="1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temi</a:t>
              </a:r>
              <a:r>
                <a:rPr lang="en-US" sz="1530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 Chemistry, Finance, Design, Bioeconomy, Textile, </a:t>
              </a:r>
              <a:r>
                <a:rPr lang="en-US" sz="1530" err="1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StartUp</a:t>
              </a:r>
              <a:r>
                <a:rPr lang="en-US" sz="1530">
                  <a:solidFill>
                    <a:srgbClr val="000000"/>
                  </a:solidFill>
                  <a:latin typeface="Century Gothic"/>
                  <a:ea typeface="MS PGothic"/>
                  <a:sym typeface="Century Gothic" panose="020B0502020202020204" pitchFamily="34" charset="0"/>
                </a:rPr>
                <a:t> 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9351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endParaRPr lang="it-IT" sz="3467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032819BE-B3A9-954C-B2F4-70A6CEB93B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600"/>
              <a:t>Attività e prodotti</a:t>
            </a:r>
            <a:br>
              <a:rPr lang="it-IT" sz="3600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1450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644D3D-1ED3-428F-BE0F-FB4E0EA880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644D3D-1ED3-428F-BE0F-FB4E0EA88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8E13CB-904A-4789-BE4E-8C24D51254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49" b="1" err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0D0613-D95D-4C70-8D27-AC173B434B04}"/>
              </a:ext>
            </a:extLst>
          </p:cNvPr>
          <p:cNvSpPr>
            <a:spLocks/>
          </p:cNvSpPr>
          <p:nvPr/>
        </p:nvSpPr>
        <p:spPr bwMode="auto">
          <a:xfrm>
            <a:off x="5015032" y="1045186"/>
            <a:ext cx="7176879" cy="608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Studio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valorizzazione 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della </a:t>
            </a:r>
            <a:r>
              <a:rPr 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innovation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 trend </a:t>
            </a:r>
            <a:r>
              <a:rPr 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analysis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 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Sviluppo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coordinamento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laboratori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(Intelligenza Artificiale e Neuroscienze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7EDB3BE-C634-47E1-A819-6C10E816F0D3}"/>
              </a:ext>
            </a:extLst>
          </p:cNvPr>
          <p:cNvSpPr>
            <a:spLocks/>
          </p:cNvSpPr>
          <p:nvPr/>
        </p:nvSpPr>
        <p:spPr bwMode="auto">
          <a:xfrm>
            <a:off x="5015032" y="5238553"/>
            <a:ext cx="6872354" cy="1125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Sviluppo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network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innovazione nazionale ed internazionale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Progettazione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valorizzazione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contenuti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editoriali e formativi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rogettazione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coordinamento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eventi di posizionamento e per il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matching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tra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domanda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offerta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innovazione</a:t>
            </a:r>
          </a:p>
        </p:txBody>
      </p:sp>
      <p:sp>
        <p:nvSpPr>
          <p:cNvPr id="50" name="Rectangle 95">
            <a:extLst>
              <a:ext uri="{FF2B5EF4-FFF2-40B4-BE49-F238E27FC236}">
                <a16:creationId xmlns:a16="http://schemas.microsoft.com/office/drawing/2014/main" id="{2379971E-7EF2-465D-B9FE-649D5BFEE13E}"/>
              </a:ext>
            </a:extLst>
          </p:cNvPr>
          <p:cNvSpPr>
            <a:spLocks/>
          </p:cNvSpPr>
          <p:nvPr/>
        </p:nvSpPr>
        <p:spPr>
          <a:xfrm>
            <a:off x="5015032" y="1979194"/>
            <a:ext cx="6872354" cy="1831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Valutazione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el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otenziale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sviluppo di startup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Coaching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,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networking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&amp;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artnership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Accelerazione e scale-up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Sviluppo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rodotti</a:t>
            </a:r>
            <a:endParaRPr 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Facilitazione funding 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attraverso piattaforma di crowdfunding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Investimenti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in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equity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tramit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Neva Sgr</a:t>
            </a:r>
          </a:p>
        </p:txBody>
      </p:sp>
      <p:sp>
        <p:nvSpPr>
          <p:cNvPr id="51" name="Rectangle 90">
            <a:extLst>
              <a:ext uri="{FF2B5EF4-FFF2-40B4-BE49-F238E27FC236}">
                <a16:creationId xmlns:a16="http://schemas.microsoft.com/office/drawing/2014/main" id="{33142278-E721-4107-A53F-8D615FA094E8}"/>
              </a:ext>
            </a:extLst>
          </p:cNvPr>
          <p:cNvSpPr>
            <a:spLocks/>
          </p:cNvSpPr>
          <p:nvPr/>
        </p:nvSpPr>
        <p:spPr>
          <a:xfrm>
            <a:off x="5015032" y="3879603"/>
            <a:ext cx="6872354" cy="114803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>
            <a:spAutoFit/>
          </a:bodyPr>
          <a:lstStyle/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Offerta di </a:t>
            </a:r>
            <a:r>
              <a:rPr 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Advisory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Open Innovation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Servizi e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iattaforme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matching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fra imprese e startup</a:t>
            </a:r>
          </a:p>
          <a:p>
            <a:pPr marL="297469" indent="-297469" defTabSz="951901" fontAlgn="base">
              <a:spcAft>
                <a:spcPts val="612"/>
              </a:spcAft>
              <a:buClr>
                <a:srgbClr val="406B9B"/>
              </a:buClr>
              <a:buFont typeface="Wingdings" panose="05000000000000000000" pitchFamily="2" charset="2"/>
              <a:buChar char="§"/>
              <a:defRPr/>
            </a:pP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Plafond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Circular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 Economy 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a supporto della competitività delle imprese, con effetto </a:t>
            </a:r>
            <a:r>
              <a:rPr 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de-</a:t>
            </a:r>
            <a:r>
              <a:rPr 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risking</a:t>
            </a:r>
            <a:endParaRPr lang="it-IT" sz="1428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D484DAF-1763-44F1-B992-6C35A59C5BB8}"/>
              </a:ext>
            </a:extLst>
          </p:cNvPr>
          <p:cNvSpPr txBox="1"/>
          <p:nvPr/>
        </p:nvSpPr>
        <p:spPr bwMode="gray">
          <a:xfrm>
            <a:off x="2288169" y="1163247"/>
            <a:ext cx="2550364" cy="5768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defRPr/>
            </a:pPr>
            <a:r>
              <a:rPr lang="it-IT" sz="1837" b="1">
                <a:solidFill>
                  <a:srgbClr val="406B9B"/>
                </a:solidFill>
              </a:rPr>
              <a:t>Valorizzazione </a:t>
            </a:r>
            <a:r>
              <a:rPr lang="it-IT" sz="1837" b="1" err="1">
                <a:solidFill>
                  <a:srgbClr val="406B9B"/>
                </a:solidFill>
              </a:rPr>
              <a:t>know</a:t>
            </a:r>
            <a:r>
              <a:rPr lang="it-IT" sz="1837" b="1">
                <a:solidFill>
                  <a:srgbClr val="406B9B"/>
                </a:solidFill>
              </a:rPr>
              <a:t> </a:t>
            </a:r>
            <a:r>
              <a:rPr lang="it-IT" sz="1837" b="1" err="1">
                <a:solidFill>
                  <a:srgbClr val="406B9B"/>
                </a:solidFill>
              </a:rPr>
              <a:t>how</a:t>
            </a:r>
            <a:r>
              <a:rPr lang="it-IT" sz="1837" b="1">
                <a:solidFill>
                  <a:srgbClr val="406B9B"/>
                </a:solidFill>
              </a:rPr>
              <a:t> di innovazione</a:t>
            </a:r>
            <a:endParaRPr lang="it-IT" sz="1632" b="1">
              <a:solidFill>
                <a:srgbClr val="406B9B"/>
              </a:solidFill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6412B90D-3091-4986-8E61-7E7F0A8924BD}"/>
              </a:ext>
            </a:extLst>
          </p:cNvPr>
          <p:cNvCxnSpPr>
            <a:cxnSpLocks/>
            <a:stCxn id="28" idx="2"/>
            <a:endCxn id="33" idx="2"/>
          </p:cNvCxnSpPr>
          <p:nvPr/>
        </p:nvCxnSpPr>
        <p:spPr>
          <a:xfrm rot="10800000" flipV="1">
            <a:off x="1304373" y="1513777"/>
            <a:ext cx="23620" cy="4232321"/>
          </a:xfrm>
          <a:prstGeom prst="bentConnector3">
            <a:avLst>
              <a:gd name="adj1" fmla="val 1087473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/>
          <p:nvPr/>
        </p:nvCxnSpPr>
        <p:spPr>
          <a:xfrm>
            <a:off x="-8299" y="3644736"/>
            <a:ext cx="108485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1A7252D-FDEC-4294-93F6-2AF582B46887}"/>
              </a:ext>
            </a:extLst>
          </p:cNvPr>
          <p:cNvSpPr txBox="1"/>
          <p:nvPr/>
        </p:nvSpPr>
        <p:spPr bwMode="gray">
          <a:xfrm>
            <a:off x="2288169" y="4142700"/>
            <a:ext cx="2550364" cy="5768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defRPr/>
            </a:pPr>
            <a:r>
              <a:rPr lang="it-IT" sz="1837" b="1">
                <a:solidFill>
                  <a:srgbClr val="406B9B"/>
                </a:solidFill>
              </a:rPr>
              <a:t>Open Innovation Impres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A86494E-B291-46A0-83D0-F3045323D8D5}"/>
              </a:ext>
            </a:extLst>
          </p:cNvPr>
          <p:cNvSpPr txBox="1"/>
          <p:nvPr/>
        </p:nvSpPr>
        <p:spPr bwMode="gray">
          <a:xfrm>
            <a:off x="2288169" y="5321108"/>
            <a:ext cx="2550364" cy="8653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defRPr/>
            </a:pPr>
            <a:r>
              <a:rPr lang="it-IT" sz="1837" b="1">
                <a:solidFill>
                  <a:srgbClr val="406B9B"/>
                </a:solidFill>
              </a:rPr>
              <a:t>Sviluppo della cultura e del network dell’Innovazion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4FA998-F3EF-4265-ABA8-C12EE6809EFA}"/>
              </a:ext>
            </a:extLst>
          </p:cNvPr>
          <p:cNvSpPr txBox="1"/>
          <p:nvPr/>
        </p:nvSpPr>
        <p:spPr bwMode="gray">
          <a:xfrm>
            <a:off x="2288169" y="2651686"/>
            <a:ext cx="2550364" cy="2884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defRPr/>
            </a:pPr>
            <a:r>
              <a:rPr lang="it-IT" sz="1837" b="1">
                <a:solidFill>
                  <a:srgbClr val="406B9B"/>
                </a:solidFill>
              </a:rPr>
              <a:t>Sviluppo startup</a:t>
            </a:r>
          </a:p>
        </p:txBody>
      </p:sp>
      <p:cxnSp>
        <p:nvCxnSpPr>
          <p:cNvPr id="10" name="Connettore 1 9"/>
          <p:cNvCxnSpPr>
            <a:stCxn id="31" idx="2"/>
          </p:cNvCxnSpPr>
          <p:nvPr/>
        </p:nvCxnSpPr>
        <p:spPr>
          <a:xfrm flipH="1">
            <a:off x="1084943" y="2871428"/>
            <a:ext cx="21943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/>
        </p:nvCxnSpPr>
        <p:spPr>
          <a:xfrm flipH="1">
            <a:off x="1084942" y="4449290"/>
            <a:ext cx="21943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Principali ambiti</a:t>
            </a:r>
          </a:p>
        </p:txBody>
      </p:sp>
      <p:cxnSp>
        <p:nvCxnSpPr>
          <p:cNvPr id="6" name="Connettore 1 5"/>
          <p:cNvCxnSpPr/>
          <p:nvPr/>
        </p:nvCxnSpPr>
        <p:spPr>
          <a:xfrm>
            <a:off x="2288168" y="1918375"/>
            <a:ext cx="9406065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1 26"/>
          <p:cNvCxnSpPr/>
          <p:nvPr/>
        </p:nvCxnSpPr>
        <p:spPr>
          <a:xfrm>
            <a:off x="2288167" y="3859759"/>
            <a:ext cx="9475865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36"/>
          <p:cNvCxnSpPr/>
          <p:nvPr/>
        </p:nvCxnSpPr>
        <p:spPr>
          <a:xfrm>
            <a:off x="2288167" y="5034279"/>
            <a:ext cx="9475865" cy="0"/>
          </a:xfrm>
          <a:prstGeom prst="line">
            <a:avLst/>
          </a:prstGeom>
          <a:ln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5DCA950F-40B2-4112-4F5C-F6C9641588D9}"/>
              </a:ext>
            </a:extLst>
          </p:cNvPr>
          <p:cNvGrpSpPr/>
          <p:nvPr/>
        </p:nvGrpSpPr>
        <p:grpSpPr>
          <a:xfrm>
            <a:off x="1304373" y="2446439"/>
            <a:ext cx="849979" cy="849979"/>
            <a:chOff x="1278318" y="2490336"/>
            <a:chExt cx="833058" cy="833058"/>
          </a:xfrm>
        </p:grpSpPr>
        <p:sp>
          <p:nvSpPr>
            <p:cNvPr id="24" name="Oval 30">
              <a:extLst>
                <a:ext uri="{FF2B5EF4-FFF2-40B4-BE49-F238E27FC236}">
                  <a16:creationId xmlns:a16="http://schemas.microsoft.com/office/drawing/2014/main" id="{70A4C334-2534-79ED-5278-BB299B59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2490336"/>
              <a:ext cx="833058" cy="833058"/>
            </a:xfrm>
            <a:prstGeom prst="ellipse">
              <a:avLst/>
            </a:prstGeom>
            <a:noFill/>
            <a:ln w="12700" cap="flat" cmpd="sng" algn="ctr">
              <a:solidFill>
                <a:srgbClr val="003A7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32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25" name="Picture 2" descr="https://static.thenounproject.com/png/1087690-200.png">
              <a:extLst>
                <a:ext uri="{FF2B5EF4-FFF2-40B4-BE49-F238E27FC236}">
                  <a16:creationId xmlns:a16="http://schemas.microsoft.com/office/drawing/2014/main" id="{7900FDA8-48F2-92C4-73F4-F9B687D21E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duotone>
                <a:srgbClr val="406B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555" y="2706115"/>
              <a:ext cx="414583" cy="4145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B00DCA0A-58DC-5AE3-7C6B-0136A6E4D6DC}"/>
              </a:ext>
            </a:extLst>
          </p:cNvPr>
          <p:cNvGrpSpPr/>
          <p:nvPr/>
        </p:nvGrpSpPr>
        <p:grpSpPr>
          <a:xfrm>
            <a:off x="1304373" y="5321108"/>
            <a:ext cx="849979" cy="849979"/>
            <a:chOff x="1278318" y="5151585"/>
            <a:chExt cx="833058" cy="833058"/>
          </a:xfrm>
        </p:grpSpPr>
        <p:sp>
          <p:nvSpPr>
            <p:cNvPr id="29" name="Oval 32">
              <a:extLst>
                <a:ext uri="{FF2B5EF4-FFF2-40B4-BE49-F238E27FC236}">
                  <a16:creationId xmlns:a16="http://schemas.microsoft.com/office/drawing/2014/main" id="{769C3359-D65E-651B-DCF5-071E9501AE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5151585"/>
              <a:ext cx="833058" cy="833058"/>
            </a:xfrm>
            <a:prstGeom prst="ellipse">
              <a:avLst/>
            </a:prstGeom>
            <a:noFill/>
            <a:ln w="12700" cap="flat" cmpd="sng" algn="ctr">
              <a:solidFill>
                <a:srgbClr val="003A7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3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40" name="Picture 2" descr="https://static.thenounproject.com/png/1864520-200.png">
              <a:extLst>
                <a:ext uri="{FF2B5EF4-FFF2-40B4-BE49-F238E27FC236}">
                  <a16:creationId xmlns:a16="http://schemas.microsoft.com/office/drawing/2014/main" id="{0ACED778-8952-9831-820C-593D3241C6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duotone>
                <a:srgbClr val="406B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5540" y="5340093"/>
              <a:ext cx="456041" cy="456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7B27C3A5-71BE-8675-839B-7354AC533803}"/>
              </a:ext>
            </a:extLst>
          </p:cNvPr>
          <p:cNvGrpSpPr/>
          <p:nvPr/>
        </p:nvGrpSpPr>
        <p:grpSpPr>
          <a:xfrm>
            <a:off x="1304373" y="4016674"/>
            <a:ext cx="849979" cy="849979"/>
            <a:chOff x="1278318" y="3820961"/>
            <a:chExt cx="833058" cy="833058"/>
          </a:xfrm>
        </p:grpSpPr>
        <p:sp>
          <p:nvSpPr>
            <p:cNvPr id="44" name="Oval 31">
              <a:extLst>
                <a:ext uri="{FF2B5EF4-FFF2-40B4-BE49-F238E27FC236}">
                  <a16:creationId xmlns:a16="http://schemas.microsoft.com/office/drawing/2014/main" id="{FCAF0253-38A5-4E03-E39D-AD3374EE7E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3820961"/>
              <a:ext cx="833058" cy="833058"/>
            </a:xfrm>
            <a:prstGeom prst="ellipse">
              <a:avLst/>
            </a:prstGeom>
            <a:noFill/>
            <a:ln w="12700" cap="flat" cmpd="sng" algn="ctr">
              <a:solidFill>
                <a:srgbClr val="003A7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32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45" name="Picture 4" descr="https://static.thenounproject.com/png/1365240-200.png">
              <a:extLst>
                <a:ext uri="{FF2B5EF4-FFF2-40B4-BE49-F238E27FC236}">
                  <a16:creationId xmlns:a16="http://schemas.microsoft.com/office/drawing/2014/main" id="{5ADA18A6-1E59-E0A0-8D9A-36A822A3CA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duotone>
                <a:srgbClr val="406B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699" y="4016946"/>
              <a:ext cx="456041" cy="456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9981A8C5-0E5D-AEE0-2FE9-FB157A1A8957}"/>
              </a:ext>
            </a:extLst>
          </p:cNvPr>
          <p:cNvGrpSpPr/>
          <p:nvPr/>
        </p:nvGrpSpPr>
        <p:grpSpPr>
          <a:xfrm>
            <a:off x="1327993" y="1088787"/>
            <a:ext cx="849979" cy="849979"/>
            <a:chOff x="1278318" y="1159711"/>
            <a:chExt cx="833058" cy="833058"/>
          </a:xfrm>
        </p:grpSpPr>
        <p:sp>
          <p:nvSpPr>
            <p:cNvPr id="47" name="Oval 27">
              <a:extLst>
                <a:ext uri="{FF2B5EF4-FFF2-40B4-BE49-F238E27FC236}">
                  <a16:creationId xmlns:a16="http://schemas.microsoft.com/office/drawing/2014/main" id="{F2D25909-EFC4-F145-7983-BA319C1321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 cap="flat" cmpd="sng" algn="ctr">
              <a:solidFill>
                <a:srgbClr val="003A7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32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55" name="Picture 9" descr="https://static.thenounproject.com/png/2934059-200.png">
              <a:extLst>
                <a:ext uri="{FF2B5EF4-FFF2-40B4-BE49-F238E27FC236}">
                  <a16:creationId xmlns:a16="http://schemas.microsoft.com/office/drawing/2014/main" id="{9052AF90-36EC-355C-8648-82329DFD29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duotone>
                <a:srgbClr val="406B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5757" y="1197436"/>
              <a:ext cx="734459" cy="734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988036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6">
            <a:extLst>
              <a:ext uri="{FF2B5EF4-FFF2-40B4-BE49-F238E27FC236}">
                <a16:creationId xmlns:a16="http://schemas.microsoft.com/office/drawing/2014/main" id="{92CCCCDA-D747-4B01-B25B-10378576D1E3}"/>
              </a:ext>
            </a:extLst>
          </p:cNvPr>
          <p:cNvSpPr/>
          <p:nvPr/>
        </p:nvSpPr>
        <p:spPr>
          <a:xfrm>
            <a:off x="1026644" y="2673350"/>
            <a:ext cx="2422358" cy="3705531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37">
            <a:extLst>
              <a:ext uri="{FF2B5EF4-FFF2-40B4-BE49-F238E27FC236}">
                <a16:creationId xmlns:a16="http://schemas.microsoft.com/office/drawing/2014/main" id="{F138C6F6-45DF-48E5-BC09-883152450096}"/>
              </a:ext>
            </a:extLst>
          </p:cNvPr>
          <p:cNvSpPr txBox="1"/>
          <p:nvPr/>
        </p:nvSpPr>
        <p:spPr>
          <a:xfrm>
            <a:off x="3761121" y="926019"/>
            <a:ext cx="2424261" cy="440775"/>
          </a:xfrm>
          <a:prstGeom prst="rect">
            <a:avLst/>
          </a:prstGeom>
          <a:noFill/>
          <a:ln cap="rnd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1316" tIns="61316" rIns="61316" bIns="61316" anchor="ctr"/>
          <a:lstStyle>
            <a:defPPr>
              <a:defRPr lang="it-IT"/>
            </a:defPPr>
            <a:lvl1pPr algn="ctr">
              <a:defRPr sz="1600" b="1">
                <a:solidFill>
                  <a:schemeClr val="bg1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41">
                <a:solidFill>
                  <a:srgbClr val="406B9B"/>
                </a:solidFill>
              </a:rPr>
              <a:t>Discovery</a:t>
            </a:r>
          </a:p>
        </p:txBody>
      </p:sp>
      <p:sp>
        <p:nvSpPr>
          <p:cNvPr id="7" name="Rectangle 26">
            <a:extLst>
              <a:ext uri="{FF2B5EF4-FFF2-40B4-BE49-F238E27FC236}">
                <a16:creationId xmlns:a16="http://schemas.microsoft.com/office/drawing/2014/main" id="{B80D3F23-FF07-4713-BD7C-3CC157B14803}"/>
              </a:ext>
            </a:extLst>
          </p:cNvPr>
          <p:cNvSpPr/>
          <p:nvPr/>
        </p:nvSpPr>
        <p:spPr>
          <a:xfrm>
            <a:off x="3674204" y="2671763"/>
            <a:ext cx="2310574" cy="3707117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Rectangle 26">
            <a:extLst>
              <a:ext uri="{FF2B5EF4-FFF2-40B4-BE49-F238E27FC236}">
                <a16:creationId xmlns:a16="http://schemas.microsoft.com/office/drawing/2014/main" id="{DC24F834-CF46-4E17-AED5-F7051F8874A2}"/>
              </a:ext>
            </a:extLst>
          </p:cNvPr>
          <p:cNvSpPr/>
          <p:nvPr/>
        </p:nvSpPr>
        <p:spPr>
          <a:xfrm>
            <a:off x="6178452" y="2671763"/>
            <a:ext cx="2588399" cy="3707117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Rectangle 26">
            <a:extLst>
              <a:ext uri="{FF2B5EF4-FFF2-40B4-BE49-F238E27FC236}">
                <a16:creationId xmlns:a16="http://schemas.microsoft.com/office/drawing/2014/main" id="{D9269F03-7A70-47A1-AA43-1F9887D663AD}"/>
              </a:ext>
            </a:extLst>
          </p:cNvPr>
          <p:cNvSpPr/>
          <p:nvPr/>
        </p:nvSpPr>
        <p:spPr>
          <a:xfrm>
            <a:off x="8992053" y="2673350"/>
            <a:ext cx="2588400" cy="3546470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37">
            <a:extLst>
              <a:ext uri="{FF2B5EF4-FFF2-40B4-BE49-F238E27FC236}">
                <a16:creationId xmlns:a16="http://schemas.microsoft.com/office/drawing/2014/main" id="{0AC70DD2-5B97-4D62-8479-37F0F9D5D73E}"/>
              </a:ext>
            </a:extLst>
          </p:cNvPr>
          <p:cNvSpPr txBox="1"/>
          <p:nvPr/>
        </p:nvSpPr>
        <p:spPr>
          <a:xfrm>
            <a:off x="6540639" y="926019"/>
            <a:ext cx="2424261" cy="440775"/>
          </a:xfrm>
          <a:prstGeom prst="rect">
            <a:avLst/>
          </a:prstGeom>
          <a:noFill/>
          <a:ln cap="rnd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1316" tIns="61316" rIns="61316" bIns="61316" anchor="ctr"/>
          <a:lstStyle>
            <a:defPPr>
              <a:defRPr lang="it-IT"/>
            </a:defPPr>
            <a:lvl1pPr algn="ctr">
              <a:defRPr sz="1600" b="1">
                <a:solidFill>
                  <a:schemeClr val="bg1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41">
                <a:solidFill>
                  <a:srgbClr val="406B9B"/>
                </a:solidFill>
              </a:rPr>
              <a:t>Journey</a:t>
            </a:r>
          </a:p>
        </p:txBody>
      </p:sp>
      <p:sp>
        <p:nvSpPr>
          <p:cNvPr id="13" name="Rectangle 26">
            <a:extLst>
              <a:ext uri="{FF2B5EF4-FFF2-40B4-BE49-F238E27FC236}">
                <a16:creationId xmlns:a16="http://schemas.microsoft.com/office/drawing/2014/main" id="{B3DDD6F7-C5B2-4183-B754-937969D639BF}"/>
              </a:ext>
            </a:extLst>
          </p:cNvPr>
          <p:cNvSpPr/>
          <p:nvPr/>
        </p:nvSpPr>
        <p:spPr>
          <a:xfrm>
            <a:off x="1030657" y="1482725"/>
            <a:ext cx="2446094" cy="1035050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Rectangle 26">
            <a:extLst>
              <a:ext uri="{FF2B5EF4-FFF2-40B4-BE49-F238E27FC236}">
                <a16:creationId xmlns:a16="http://schemas.microsoft.com/office/drawing/2014/main" id="{C32B8854-9AAC-4AB1-961A-64B1165FDAFA}"/>
              </a:ext>
            </a:extLst>
          </p:cNvPr>
          <p:cNvSpPr/>
          <p:nvPr/>
        </p:nvSpPr>
        <p:spPr>
          <a:xfrm>
            <a:off x="3674204" y="1481139"/>
            <a:ext cx="2310574" cy="1035050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26">
            <a:extLst>
              <a:ext uri="{FF2B5EF4-FFF2-40B4-BE49-F238E27FC236}">
                <a16:creationId xmlns:a16="http://schemas.microsoft.com/office/drawing/2014/main" id="{A9B00A7C-5146-4733-ABD5-4D95D39C1F2B}"/>
              </a:ext>
            </a:extLst>
          </p:cNvPr>
          <p:cNvSpPr/>
          <p:nvPr/>
        </p:nvSpPr>
        <p:spPr>
          <a:xfrm>
            <a:off x="6178452" y="1504300"/>
            <a:ext cx="2590790" cy="1035050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Rectangle 26">
            <a:extLst>
              <a:ext uri="{FF2B5EF4-FFF2-40B4-BE49-F238E27FC236}">
                <a16:creationId xmlns:a16="http://schemas.microsoft.com/office/drawing/2014/main" id="{6E9ACDEE-4BD6-4BFE-9089-7AB8C16A7CA7}"/>
              </a:ext>
            </a:extLst>
          </p:cNvPr>
          <p:cNvSpPr/>
          <p:nvPr/>
        </p:nvSpPr>
        <p:spPr>
          <a:xfrm>
            <a:off x="8966696" y="1488751"/>
            <a:ext cx="2588400" cy="1044574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342890" indent="-342890" defTabSz="932962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it-IT" sz="16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3C2A5F2-DE40-428F-8F97-572CDE70057B}"/>
              </a:ext>
            </a:extLst>
          </p:cNvPr>
          <p:cNvSpPr txBox="1"/>
          <p:nvPr/>
        </p:nvSpPr>
        <p:spPr>
          <a:xfrm rot="5400000" flipV="1">
            <a:off x="240905" y="1846382"/>
            <a:ext cx="796246" cy="4230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50800" tIns="50800" rIns="50800" bIns="50800" spcCol="38100" anchor="ctr">
            <a:spAutoFit/>
          </a:bodyPr>
          <a:lstStyle/>
          <a:p>
            <a:pPr defTabSz="8254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4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NEED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352A0E69-CC42-4936-B95F-41C575548C5F}"/>
              </a:ext>
            </a:extLst>
          </p:cNvPr>
          <p:cNvSpPr/>
          <p:nvPr/>
        </p:nvSpPr>
        <p:spPr>
          <a:xfrm rot="16200000">
            <a:off x="-229152" y="3989286"/>
            <a:ext cx="1727976" cy="414648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4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RODUCTS</a:t>
            </a:r>
          </a:p>
        </p:txBody>
      </p:sp>
      <p:sp>
        <p:nvSpPr>
          <p:cNvPr id="19" name="Rettangolo 12">
            <a:extLst>
              <a:ext uri="{FF2B5EF4-FFF2-40B4-BE49-F238E27FC236}">
                <a16:creationId xmlns:a16="http://schemas.microsoft.com/office/drawing/2014/main" id="{F3E0A59A-2F39-43B3-8286-D84FBED7C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3265" y="1736024"/>
            <a:ext cx="2416259" cy="86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840638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224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Ricerca di nuove tecnologie per applicazione industriale o come opportunità d’investimento o partnership </a:t>
            </a:r>
          </a:p>
        </p:txBody>
      </p:sp>
      <p:sp>
        <p:nvSpPr>
          <p:cNvPr id="22" name="Rettangolo 15">
            <a:extLst>
              <a:ext uri="{FF2B5EF4-FFF2-40B4-BE49-F238E27FC236}">
                <a16:creationId xmlns:a16="http://schemas.microsoft.com/office/drawing/2014/main" id="{7E38C44E-04FE-4795-A921-6CACDE07A1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4708" y="1777759"/>
            <a:ext cx="2314299" cy="6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239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23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840638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224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Ricerca e contatto </a:t>
            </a:r>
            <a:r>
              <a:rPr lang="it-IT" altLang="it-IT" sz="1224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con realtà innovative in ambito di ecosistemi internazionali</a:t>
            </a:r>
            <a:endParaRPr lang="it-IT" altLang="it-IT" sz="1224" b="1">
              <a:solidFill>
                <a:srgbClr val="406B9B"/>
              </a:solidFill>
              <a:latin typeface="Century Gothic" panose="020B0502020202020204" pitchFamily="34" charset="0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23" name="Rettangolo 28">
            <a:extLst>
              <a:ext uri="{FF2B5EF4-FFF2-40B4-BE49-F238E27FC236}">
                <a16:creationId xmlns:a16="http://schemas.microsoft.com/office/drawing/2014/main" id="{2F0EA390-EE31-46B2-94E9-90AE24F1E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716" y="3014640"/>
            <a:ext cx="2479358" cy="3617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020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TARTUP INITIATIVE WHITE LABEL</a:t>
            </a:r>
            <a:r>
              <a:rPr lang="it-IT" altLang="it-IT" sz="1020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: 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programma dedicato di ricerca e accelerazione di startup tecnologiche, su incarico di uno o più clienti corporate</a:t>
            </a: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endParaRPr lang="it-IT" altLang="it-IT" sz="1020" b="1">
              <a:solidFill>
                <a:srgbClr val="406B9B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020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ECH SCOUTING</a:t>
            </a:r>
            <a:r>
              <a:rPr lang="it-IT" altLang="it-IT" sz="1020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: 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vizio </a:t>
            </a:r>
            <a:r>
              <a:rPr lang="it-IT" altLang="it-IT" sz="1020" err="1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ailor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-made di scouting tecnologico on demand, sulla base di specifici requisiti condivisi dal cliente impresa/corporate, erogato in autonomia o con il supporto di partner esterni specializzati, anche attraverso </a:t>
            </a:r>
            <a:r>
              <a:rPr lang="it-IT" altLang="it-IT" sz="1020" err="1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journey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on-site presso il cliente</a:t>
            </a: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endParaRPr lang="it-IT" altLang="it-IT" sz="1020">
              <a:solidFill>
                <a:srgbClr val="406B9B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020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ECH MATCHING: 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ervizio di business </a:t>
            </a:r>
            <a:r>
              <a:rPr lang="it-IT" altLang="it-IT" sz="1020" err="1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development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a supporto delle startup alla ricerca di opportunità di business, di capitali e partnership industriali.</a:t>
            </a: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endParaRPr lang="it-IT" altLang="it-IT" sz="102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26" name="Rettangolo 27650">
            <a:extLst>
              <a:ext uri="{FF2B5EF4-FFF2-40B4-BE49-F238E27FC236}">
                <a16:creationId xmlns:a16="http://schemas.microsoft.com/office/drawing/2014/main" id="{381C4386-37BA-41AD-880F-896D2D6BE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7232" y="3014641"/>
            <a:ext cx="2479358" cy="223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defTabSz="931343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020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ECH TOUR</a:t>
            </a:r>
            <a:r>
              <a:rPr lang="it-IT" altLang="it-IT" sz="1020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:</a:t>
            </a:r>
            <a:r>
              <a:rPr lang="it-IT" altLang="it-IT" sz="1020">
                <a:solidFill>
                  <a:srgbClr val="406B9B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</a:rPr>
              <a:t>programma di accompagnamento negli ecosistemi internazionali a forte crescita in termini di innovazione finalizzato a generare nuove opportunità di business e di investimento per le imprese clienti e </a:t>
            </a:r>
            <a:r>
              <a:rPr lang="it-IT" altLang="it-IT" sz="1020" err="1">
                <a:solidFill>
                  <a:srgbClr val="000000"/>
                </a:solidFill>
                <a:latin typeface="Century Gothic" panose="020B0502020202020204" pitchFamily="34" charset="0"/>
              </a:rPr>
              <a:t>prospect</a:t>
            </a:r>
            <a:r>
              <a:rPr lang="it-IT" altLang="it-IT" sz="1020">
                <a:solidFill>
                  <a:srgbClr val="000000"/>
                </a:solidFill>
                <a:latin typeface="Century Gothic" panose="020B0502020202020204" pitchFamily="34" charset="0"/>
              </a:rPr>
              <a:t> del Gruppo ISP con chiari obiettivi di internazionalizzazione e di sviluppo tecnologico </a:t>
            </a:r>
          </a:p>
          <a:p>
            <a:pPr algn="just" defTabSz="931343" fontAlgn="base">
              <a:spcBef>
                <a:spcPct val="0"/>
              </a:spcBef>
              <a:spcAft>
                <a:spcPct val="0"/>
              </a:spcAft>
            </a:pPr>
            <a:endParaRPr lang="it-IT" altLang="it-IT" sz="80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 defTabSz="931343" fontAlgn="base">
              <a:spcBef>
                <a:spcPct val="0"/>
              </a:spcBef>
              <a:spcAft>
                <a:spcPct val="0"/>
              </a:spcAft>
            </a:pPr>
            <a:endParaRPr lang="it-IT" altLang="it-IT" sz="80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just" defTabSz="931343" fontAlgn="base">
              <a:spcBef>
                <a:spcPct val="0"/>
              </a:spcBef>
              <a:spcAft>
                <a:spcPct val="0"/>
              </a:spcAft>
            </a:pPr>
            <a:endParaRPr lang="it-IT" altLang="it-IT" sz="800">
              <a:solidFill>
                <a:srgbClr val="00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cxnSp>
        <p:nvCxnSpPr>
          <p:cNvPr id="31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>
            <a:cxnSpLocks/>
          </p:cNvCxnSpPr>
          <p:nvPr/>
        </p:nvCxnSpPr>
        <p:spPr>
          <a:xfrm>
            <a:off x="531367" y="2866986"/>
            <a:ext cx="1108592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>
            <a:cxnSpLocks/>
          </p:cNvCxnSpPr>
          <p:nvPr/>
        </p:nvCxnSpPr>
        <p:spPr>
          <a:xfrm>
            <a:off x="531367" y="1505985"/>
            <a:ext cx="233438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1 34"/>
          <p:cNvCxnSpPr/>
          <p:nvPr/>
        </p:nvCxnSpPr>
        <p:spPr>
          <a:xfrm>
            <a:off x="3581127" y="926020"/>
            <a:ext cx="0" cy="5519590"/>
          </a:xfrm>
          <a:prstGeom prst="line">
            <a:avLst/>
          </a:prstGeom>
          <a:ln w="6350"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/>
        </p:nvCxnSpPr>
        <p:spPr>
          <a:xfrm>
            <a:off x="6307785" y="926020"/>
            <a:ext cx="0" cy="5519590"/>
          </a:xfrm>
          <a:prstGeom prst="line">
            <a:avLst/>
          </a:prstGeom>
          <a:ln w="6350"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36"/>
          <p:cNvCxnSpPr/>
          <p:nvPr/>
        </p:nvCxnSpPr>
        <p:spPr>
          <a:xfrm>
            <a:off x="9037326" y="926020"/>
            <a:ext cx="0" cy="5519590"/>
          </a:xfrm>
          <a:prstGeom prst="line">
            <a:avLst/>
          </a:prstGeom>
          <a:ln w="6350"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1 42"/>
          <p:cNvCxnSpPr/>
          <p:nvPr/>
        </p:nvCxnSpPr>
        <p:spPr>
          <a:xfrm>
            <a:off x="891723" y="926020"/>
            <a:ext cx="0" cy="5519590"/>
          </a:xfrm>
          <a:prstGeom prst="line">
            <a:avLst/>
          </a:prstGeom>
          <a:ln w="6350"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o 1">
            <a:extLst>
              <a:ext uri="{FF2B5EF4-FFF2-40B4-BE49-F238E27FC236}">
                <a16:creationId xmlns:a16="http://schemas.microsoft.com/office/drawing/2014/main" id="{C2CE9F02-6606-764B-AF36-F2EA3F400FB0}"/>
              </a:ext>
            </a:extLst>
          </p:cNvPr>
          <p:cNvGrpSpPr/>
          <p:nvPr/>
        </p:nvGrpSpPr>
        <p:grpSpPr>
          <a:xfrm>
            <a:off x="989796" y="864931"/>
            <a:ext cx="2725992" cy="4244460"/>
            <a:chOff x="3603549" y="847712"/>
            <a:chExt cx="2671727" cy="4159971"/>
          </a:xfrm>
        </p:grpSpPr>
        <p:sp>
          <p:nvSpPr>
            <p:cNvPr id="8" name="TextBox 37">
              <a:extLst>
                <a:ext uri="{FF2B5EF4-FFF2-40B4-BE49-F238E27FC236}">
                  <a16:creationId xmlns:a16="http://schemas.microsoft.com/office/drawing/2014/main" id="{8B603FE1-5A10-48BE-8346-CF528690D2DE}"/>
                </a:ext>
              </a:extLst>
            </p:cNvPr>
            <p:cNvSpPr txBox="1"/>
            <p:nvPr/>
          </p:nvSpPr>
          <p:spPr>
            <a:xfrm>
              <a:off x="3742896" y="907584"/>
              <a:ext cx="2376000" cy="432000"/>
            </a:xfrm>
            <a:prstGeom prst="rect">
              <a:avLst/>
            </a:prstGeom>
            <a:noFill/>
            <a:ln cap="rnd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61316" tIns="61316" rIns="61316" bIns="61316" anchor="ctr"/>
            <a:lstStyle>
              <a:defPPr>
                <a:defRPr lang="it-IT"/>
              </a:defPPr>
              <a:lvl1pPr algn="ctr">
                <a:defRPr sz="1600" b="1">
                  <a:solidFill>
                    <a:schemeClr val="bg1"/>
                  </a:solidFill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2041">
                  <a:solidFill>
                    <a:srgbClr val="406B9B"/>
                  </a:solidFill>
                </a:rPr>
                <a:t>Knowledge</a:t>
              </a:r>
            </a:p>
          </p:txBody>
        </p:sp>
        <p:sp>
          <p:nvSpPr>
            <p:cNvPr id="20" name="Rettangolo 13">
              <a:extLst>
                <a:ext uri="{FF2B5EF4-FFF2-40B4-BE49-F238E27FC236}">
                  <a16:creationId xmlns:a16="http://schemas.microsoft.com/office/drawing/2014/main" id="{5BBE7A94-D9D3-4311-AF85-DF29D32DB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2551" y="1729668"/>
              <a:ext cx="2262115" cy="657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224" b="1">
                  <a:solidFill>
                    <a:srgbClr val="406B9B"/>
                  </a:solidFill>
                  <a:latin typeface="Century Gothic" panose="020B0502020202020204" pitchFamily="34" charset="0"/>
                </a:rPr>
                <a:t>Conoscenza di tecnologie emergenti e trend di settore/mercato </a:t>
              </a:r>
            </a:p>
          </p:txBody>
        </p:sp>
        <p:sp>
          <p:nvSpPr>
            <p:cNvPr id="24" name="Rettangolo 30">
              <a:extLst>
                <a:ext uri="{FF2B5EF4-FFF2-40B4-BE49-F238E27FC236}">
                  <a16:creationId xmlns:a16="http://schemas.microsoft.com/office/drawing/2014/main" id="{CB64D87F-928C-4223-B320-5BF89CD49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549" y="2954626"/>
              <a:ext cx="2545579" cy="20530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3297" tIns="46649" rIns="93297" bIns="46649" anchor="t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just" defTabSz="931343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000" b="1">
                  <a:solidFill>
                    <a:srgbClr val="406B9B"/>
                  </a:solidFill>
                  <a:latin typeface="Century Gothic"/>
                  <a:ea typeface="MS PGothic"/>
                  <a:cs typeface="Calibri"/>
                </a:rPr>
                <a:t>INNOVATION NEWS: </a:t>
              </a:r>
              <a:r>
                <a:rPr lang="it-IT" sz="1000">
                  <a:solidFill>
                    <a:srgbClr val="000000"/>
                  </a:solidFill>
                  <a:latin typeface="Century Gothic"/>
                  <a:ea typeface="MS PGothic"/>
                  <a:cs typeface="Calibri"/>
                </a:rPr>
                <a:t>Innovation News è uno strumento per le aziende che vogliono rimanere aggiornate sui trend, i mercati e le tecnologie più all’avanguardia attraverso una piattaforma</a:t>
              </a:r>
              <a:r>
                <a:rPr lang="it-IT" sz="1000">
                  <a:latin typeface="Century Gothic"/>
                  <a:ea typeface="MS PGothic"/>
                  <a:cs typeface="Calibri"/>
                </a:rPr>
                <a:t> dedicata e una Newsletter</a:t>
              </a:r>
              <a:r>
                <a:rPr lang="it-IT" sz="1000">
                  <a:latin typeface="Arial"/>
                  <a:ea typeface="MS PGothic"/>
                  <a:cs typeface="Arial"/>
                </a:rPr>
                <a:t> </a:t>
              </a:r>
              <a:endParaRPr lang="it-IT" sz="1000">
                <a:solidFill>
                  <a:srgbClr val="000000"/>
                </a:solidFill>
                <a:latin typeface="Century Gothic"/>
                <a:ea typeface="MS PGothic"/>
                <a:cs typeface="Calibri"/>
              </a:endParaRPr>
            </a:p>
            <a:p>
              <a:pPr algn="just" defTabSz="931343">
                <a:spcBef>
                  <a:spcPct val="0"/>
                </a:spcBef>
                <a:spcAft>
                  <a:spcPct val="0"/>
                </a:spcAft>
              </a:pPr>
              <a:endParaRPr lang="it-IT" altLang="it-IT" sz="1000" b="1">
                <a:solidFill>
                  <a:srgbClr val="406B9B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  <a:p>
              <a:pPr algn="just" defTabSz="931343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000" b="1">
                  <a:solidFill>
                    <a:srgbClr val="406B9B"/>
                  </a:solidFill>
                  <a:latin typeface="Century Gothic"/>
                  <a:ea typeface="MS PGothic"/>
                  <a:cs typeface="Calibri"/>
                </a:rPr>
                <a:t>TREND REPORTS: </a:t>
              </a:r>
              <a:r>
                <a:rPr lang="it-IT" altLang="it-IT" sz="1000">
                  <a:solidFill>
                    <a:srgbClr val="000000"/>
                  </a:solidFill>
                  <a:latin typeface="Century Gothic"/>
                  <a:ea typeface="MS PGothic"/>
                  <a:cs typeface="Calibri"/>
                </a:rPr>
                <a:t>produzione di analisi, studi e indagini su specifici argomenti richiesti da aziende clienti a cura di partner specializzati dell’Innovation Center</a:t>
              </a:r>
              <a:endParaRPr lang="it-IT" sz="1000">
                <a:solidFill>
                  <a:srgbClr val="000000"/>
                </a:solidFill>
                <a:latin typeface="Century Gothic"/>
                <a:ea typeface="MS PGothic"/>
                <a:cs typeface="Calibri"/>
              </a:endParaRPr>
            </a:p>
          </p:txBody>
        </p:sp>
        <p:pic>
          <p:nvPicPr>
            <p:cNvPr id="50" name="Immagine 4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42157" y="847712"/>
              <a:ext cx="833119" cy="833119"/>
            </a:xfrm>
            <a:prstGeom prst="rect">
              <a:avLst/>
            </a:prstGeom>
          </p:spPr>
        </p:pic>
      </p:grpSp>
      <p:pic>
        <p:nvPicPr>
          <p:cNvPr id="51" name="Immagine 5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7607" y="864932"/>
            <a:ext cx="850041" cy="850041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BF440CBF-74AD-E447-8434-5A13C36A641C}"/>
              </a:ext>
            </a:extLst>
          </p:cNvPr>
          <p:cNvGrpSpPr/>
          <p:nvPr/>
        </p:nvGrpSpPr>
        <p:grpSpPr>
          <a:xfrm>
            <a:off x="9109891" y="882517"/>
            <a:ext cx="2695745" cy="4580826"/>
            <a:chOff x="11598790" y="864947"/>
            <a:chExt cx="2642083" cy="4489631"/>
          </a:xfrm>
        </p:grpSpPr>
        <p:sp>
          <p:nvSpPr>
            <p:cNvPr id="10" name="TextBox 37">
              <a:extLst>
                <a:ext uri="{FF2B5EF4-FFF2-40B4-BE49-F238E27FC236}">
                  <a16:creationId xmlns:a16="http://schemas.microsoft.com/office/drawing/2014/main" id="{2DC2A184-1510-4F36-B3DF-1F37C37DCD76}"/>
                </a:ext>
              </a:extLst>
            </p:cNvPr>
            <p:cNvSpPr txBox="1"/>
            <p:nvPr/>
          </p:nvSpPr>
          <p:spPr>
            <a:xfrm>
              <a:off x="11664327" y="907584"/>
              <a:ext cx="2376000" cy="432000"/>
            </a:xfrm>
            <a:prstGeom prst="rect">
              <a:avLst/>
            </a:prstGeom>
            <a:noFill/>
            <a:ln cap="rnd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61316" tIns="61316" rIns="61316" bIns="61316" anchor="ctr"/>
            <a:lstStyle>
              <a:defPPr>
                <a:defRPr lang="it-IT"/>
              </a:defPPr>
              <a:lvl1pPr algn="ctr">
                <a:defRPr sz="1600" b="1">
                  <a:solidFill>
                    <a:schemeClr val="bg1"/>
                  </a:solidFill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2041">
                  <a:solidFill>
                    <a:srgbClr val="406B9B"/>
                  </a:solidFill>
                </a:rPr>
                <a:t>Challenge</a:t>
              </a:r>
            </a:p>
          </p:txBody>
        </p:sp>
        <p:sp>
          <p:nvSpPr>
            <p:cNvPr id="21" name="Rettangolo 14">
              <a:extLst>
                <a:ext uri="{FF2B5EF4-FFF2-40B4-BE49-F238E27FC236}">
                  <a16:creationId xmlns:a16="http://schemas.microsoft.com/office/drawing/2014/main" id="{58665326-DC1D-4750-8F36-6F59F5FB3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48998" y="1568086"/>
              <a:ext cx="2403237" cy="1222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840638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224" b="1">
                  <a:solidFill>
                    <a:srgbClr val="406B9B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Sperimentazione di </a:t>
              </a:r>
              <a:br>
                <a:rPr lang="it-IT" altLang="it-IT" sz="1224" b="1">
                  <a:solidFill>
                    <a:srgbClr val="406B9B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</a:br>
              <a:r>
                <a:rPr lang="it-IT" altLang="it-IT" sz="1224" b="1">
                  <a:solidFill>
                    <a:srgbClr val="406B9B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nuovi modelli di business </a:t>
              </a:r>
              <a:r>
                <a:rPr lang="it-IT" altLang="it-IT" sz="1224" b="1" err="1">
                  <a:solidFill>
                    <a:srgbClr val="406B9B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process</a:t>
              </a:r>
              <a:r>
                <a:rPr lang="it-IT" altLang="it-IT" sz="1224" b="1">
                  <a:solidFill>
                    <a:srgbClr val="406B9B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 management e sviluppo applicazioni tecnologiche e prototipi in laboratorio</a:t>
              </a:r>
            </a:p>
          </p:txBody>
        </p:sp>
        <p:sp>
          <p:nvSpPr>
            <p:cNvPr id="25" name="Rettangolo 27648">
              <a:extLst>
                <a:ext uri="{FF2B5EF4-FFF2-40B4-BE49-F238E27FC236}">
                  <a16:creationId xmlns:a16="http://schemas.microsoft.com/office/drawing/2014/main" id="{79F54FE1-835D-4746-B1E0-21D55443B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98790" y="2954626"/>
              <a:ext cx="2642083" cy="2399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3297" tIns="46649" rIns="93297" bIns="46649" anchor="t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just" defTabSz="931343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020" b="1">
                  <a:solidFill>
                    <a:srgbClr val="406B9B"/>
                  </a:solidFill>
                  <a:latin typeface="Century Gothic"/>
                  <a:ea typeface="MS PGothic"/>
                  <a:cs typeface="Calibri"/>
                </a:rPr>
                <a:t>TECH LAB</a:t>
              </a:r>
              <a:r>
                <a:rPr lang="it-IT" altLang="it-IT" sz="1020">
                  <a:solidFill>
                    <a:srgbClr val="406B9B"/>
                  </a:solidFill>
                  <a:latin typeface="Century Gothic"/>
                  <a:ea typeface="MS PGothic"/>
                  <a:cs typeface="Calibri"/>
                </a:rPr>
                <a:t>: 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</a:rPr>
                <a:t>sviluppo progetti di ricerca applicata per la risoluzione di sfide su ambiti verticali di applicazione con </a:t>
              </a:r>
              <a:r>
                <a:rPr lang="it-IT" altLang="it-IT" sz="1020" err="1">
                  <a:solidFill>
                    <a:srgbClr val="000000"/>
                  </a:solidFill>
                  <a:latin typeface="Century Gothic"/>
                  <a:ea typeface="MS PGothic"/>
                </a:rPr>
                <a:t>experties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</a:rPr>
                <a:t> Deep Tech e Human Social Science attraverso team misti di esperti del </a:t>
              </a:r>
              <a:r>
                <a:rPr lang="it-IT" altLang="it-IT" sz="1020" err="1">
                  <a:solidFill>
                    <a:srgbClr val="000000"/>
                  </a:solidFill>
                  <a:latin typeface="Century Gothic"/>
                  <a:ea typeface="MS PGothic"/>
                </a:rPr>
                <a:t>Frontier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</a:rPr>
                <a:t> </a:t>
              </a:r>
              <a:r>
                <a:rPr lang="it-IT" altLang="it-IT" sz="1020" err="1">
                  <a:solidFill>
                    <a:srgbClr val="000000"/>
                  </a:solidFill>
                  <a:latin typeface="Century Gothic"/>
                  <a:ea typeface="MS PGothic"/>
                </a:rPr>
                <a:t>Research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</a:rPr>
                <a:t>, dei partner scientifici e dei clienti</a:t>
              </a:r>
              <a:endParaRPr lang="it-IT" sz="1632">
                <a:solidFill>
                  <a:srgbClr val="000000"/>
                </a:solidFill>
              </a:endParaRPr>
            </a:p>
            <a:p>
              <a:pPr algn="just" defTabSz="931343" fontAlgn="base">
                <a:spcBef>
                  <a:spcPct val="0"/>
                </a:spcBef>
                <a:spcAft>
                  <a:spcPct val="0"/>
                </a:spcAft>
              </a:pPr>
              <a:endParaRPr lang="it-IT" altLang="it-IT" sz="1020" b="1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  <a:p>
              <a:pPr algn="just" defTabSz="931343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altLang="it-IT" sz="1020" b="1">
                  <a:solidFill>
                    <a:srgbClr val="406B9B"/>
                  </a:solidFill>
                  <a:latin typeface="Century Gothic"/>
                  <a:ea typeface="MS PGothic"/>
                  <a:cs typeface="Calibri"/>
                </a:rPr>
                <a:t>CIRCULAR ECONOMY LAB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  <a:cs typeface="Calibri"/>
                </a:rPr>
                <a:t>: </a:t>
              </a:r>
              <a:r>
                <a:rPr lang="it-IT" altLang="it-IT" sz="1020" err="1">
                  <a:solidFill>
                    <a:srgbClr val="000000"/>
                  </a:solidFill>
                  <a:latin typeface="Century Gothic"/>
                  <a:ea typeface="MS PGothic"/>
                  <a:cs typeface="Calibri"/>
                </a:rPr>
                <a:t>advisory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  <a:cs typeface="Calibri"/>
                </a:rPr>
                <a:t> di </a:t>
              </a:r>
              <a:r>
                <a:rPr lang="it-IT" altLang="it-IT" sz="1020">
                  <a:solidFill>
                    <a:srgbClr val="000000"/>
                  </a:solidFill>
                  <a:latin typeface="Century Gothic"/>
                  <a:ea typeface="MS PGothic"/>
                </a:rPr>
                <a:t>ricerca di tecnologie innovative e nuovi modelli di business, a supporto della transizione delle aziende da un modello economico lineare ad uno circolare </a:t>
              </a:r>
              <a:endParaRPr lang="it-IT" altLang="it-IT" sz="102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algn="just" defTabSz="931343" fontAlgn="base">
                <a:spcBef>
                  <a:spcPct val="0"/>
                </a:spcBef>
                <a:spcAft>
                  <a:spcPct val="0"/>
                </a:spcAft>
              </a:pPr>
              <a:endParaRPr lang="it-IT" altLang="it-IT" sz="102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52" name="Immagine 5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55805" y="864947"/>
              <a:ext cx="835933" cy="833119"/>
            </a:xfrm>
            <a:prstGeom prst="rect">
              <a:avLst/>
            </a:prstGeom>
          </p:spPr>
        </p:pic>
      </p:grpSp>
      <p:pic>
        <p:nvPicPr>
          <p:cNvPr id="53" name="Immagine 5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268" y="864932"/>
            <a:ext cx="850041" cy="850041"/>
          </a:xfrm>
          <a:prstGeom prst="rect">
            <a:avLst/>
          </a:prstGeom>
        </p:spPr>
      </p:pic>
      <p:cxnSp>
        <p:nvCxnSpPr>
          <p:cNvPr id="54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>
            <a:cxnSpLocks/>
          </p:cNvCxnSpPr>
          <p:nvPr/>
        </p:nvCxnSpPr>
        <p:spPr>
          <a:xfrm>
            <a:off x="3581128" y="1505985"/>
            <a:ext cx="183014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/>
          <p:nvPr/>
        </p:nvCxnSpPr>
        <p:spPr>
          <a:xfrm>
            <a:off x="6307786" y="1505985"/>
            <a:ext cx="185982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34">
            <a:extLst>
              <a:ext uri="{FF2B5EF4-FFF2-40B4-BE49-F238E27FC236}">
                <a16:creationId xmlns:a16="http://schemas.microsoft.com/office/drawing/2014/main" id="{B4EA1D73-52DA-4A9A-B4F2-5C78C10C3E12}"/>
              </a:ext>
            </a:extLst>
          </p:cNvPr>
          <p:cNvCxnSpPr/>
          <p:nvPr/>
        </p:nvCxnSpPr>
        <p:spPr>
          <a:xfrm>
            <a:off x="9037327" y="1505985"/>
            <a:ext cx="180285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olo 2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La nostra offerta</a:t>
            </a:r>
          </a:p>
        </p:txBody>
      </p:sp>
    </p:spTree>
    <p:extLst>
      <p:ext uri="{BB962C8B-B14F-4D97-AF65-F5344CB8AC3E}">
        <p14:creationId xmlns:p14="http://schemas.microsoft.com/office/powerpoint/2010/main" val="3913231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9">
            <a:extLst>
              <a:ext uri="{FF2B5EF4-FFF2-40B4-BE49-F238E27FC236}">
                <a16:creationId xmlns:a16="http://schemas.microsoft.com/office/drawing/2014/main" id="{C12C8563-6F9D-4950-9373-2D58335EE84C}"/>
              </a:ext>
            </a:extLst>
          </p:cNvPr>
          <p:cNvGrpSpPr/>
          <p:nvPr/>
        </p:nvGrpSpPr>
        <p:grpSpPr>
          <a:xfrm>
            <a:off x="1000041" y="973576"/>
            <a:ext cx="2526915" cy="1150424"/>
            <a:chOff x="409171" y="3583669"/>
            <a:chExt cx="2476647" cy="1127539"/>
          </a:xfrm>
        </p:grpSpPr>
        <p:sp>
          <p:nvSpPr>
            <p:cNvPr id="21" name="TextBox 63">
              <a:extLst>
                <a:ext uri="{FF2B5EF4-FFF2-40B4-BE49-F238E27FC236}">
                  <a16:creationId xmlns:a16="http://schemas.microsoft.com/office/drawing/2014/main" id="{E84DF166-3B21-4336-A139-03BD9638B58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9171" y="4083207"/>
              <a:ext cx="1194256" cy="628001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r"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081" b="1">
                  <a:solidFill>
                    <a:srgbClr val="406B9B"/>
                  </a:solidFill>
                </a:rPr>
                <a:t>+500</a:t>
              </a:r>
              <a:endParaRPr lang="it-IT" sz="4081">
                <a:solidFill>
                  <a:srgbClr val="406B9B"/>
                </a:solidFill>
              </a:endParaRPr>
            </a:p>
          </p:txBody>
        </p:sp>
        <p:sp>
          <p:nvSpPr>
            <p:cNvPr id="22" name="TextBox 64">
              <a:extLst>
                <a:ext uri="{FF2B5EF4-FFF2-40B4-BE49-F238E27FC236}">
                  <a16:creationId xmlns:a16="http://schemas.microsoft.com/office/drawing/2014/main" id="{CCCB0AE4-DFA2-4D0E-A6C7-95771EAAC8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60978" y="3767798"/>
              <a:ext cx="1024840" cy="84813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837">
                  <a:solidFill>
                    <a:srgbClr val="406B9B"/>
                  </a:solidFill>
                </a:rPr>
                <a:t>Fonti </a:t>
              </a:r>
              <a:r>
                <a:rPr lang="it-IT" sz="1837" b="1">
                  <a:solidFill>
                    <a:srgbClr val="406B9B"/>
                  </a:solidFill>
                </a:rPr>
                <a:t>web</a:t>
              </a:r>
              <a:r>
                <a:rPr lang="it-IT" sz="1837">
                  <a:solidFill>
                    <a:srgbClr val="406B9B"/>
                  </a:solidFill>
                </a:rPr>
                <a:t> e </a:t>
              </a:r>
              <a:r>
                <a:rPr lang="it-IT" sz="1837" b="1">
                  <a:solidFill>
                    <a:srgbClr val="406B9B"/>
                  </a:solidFill>
                </a:rPr>
                <a:t>social</a:t>
              </a:r>
            </a:p>
          </p:txBody>
        </p:sp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0F2A5E51-A54B-4663-B398-924CA92F3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94955" y="3628588"/>
              <a:ext cx="469890" cy="469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4" name="VerticalLine4 16">
              <a:extLst>
                <a:ext uri="{FF2B5EF4-FFF2-40B4-BE49-F238E27FC236}">
                  <a16:creationId xmlns:a16="http://schemas.microsoft.com/office/drawing/2014/main" id="{BED5A255-93FD-4B6F-B800-9909EB77722F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 bwMode="gray">
            <a:xfrm>
              <a:off x="1718983" y="3583669"/>
              <a:ext cx="0" cy="994730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9">
            <a:extLst>
              <a:ext uri="{FF2B5EF4-FFF2-40B4-BE49-F238E27FC236}">
                <a16:creationId xmlns:a16="http://schemas.microsoft.com/office/drawing/2014/main" id="{C12C8563-6F9D-4950-9373-2D58335EE84C}"/>
              </a:ext>
            </a:extLst>
          </p:cNvPr>
          <p:cNvGrpSpPr/>
          <p:nvPr/>
        </p:nvGrpSpPr>
        <p:grpSpPr>
          <a:xfrm>
            <a:off x="4648917" y="973576"/>
            <a:ext cx="3151863" cy="1150424"/>
            <a:chOff x="409172" y="3583669"/>
            <a:chExt cx="3089162" cy="1127539"/>
          </a:xfrm>
        </p:grpSpPr>
        <p:sp>
          <p:nvSpPr>
            <p:cNvPr id="26" name="TextBox 63">
              <a:extLst>
                <a:ext uri="{FF2B5EF4-FFF2-40B4-BE49-F238E27FC236}">
                  <a16:creationId xmlns:a16="http://schemas.microsoft.com/office/drawing/2014/main" id="{E84DF166-3B21-4336-A139-03BD9638B58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9172" y="4083207"/>
              <a:ext cx="1194255" cy="628001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r"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081" b="1">
                  <a:solidFill>
                    <a:srgbClr val="406B9B"/>
                  </a:solidFill>
                </a:rPr>
                <a:t>+300</a:t>
              </a:r>
              <a:endParaRPr lang="it-IT" sz="4081">
                <a:solidFill>
                  <a:srgbClr val="406B9B"/>
                </a:solidFill>
              </a:endParaRPr>
            </a:p>
          </p:txBody>
        </p:sp>
        <p:sp>
          <p:nvSpPr>
            <p:cNvPr id="27" name="TextBox 64">
              <a:extLst>
                <a:ext uri="{FF2B5EF4-FFF2-40B4-BE49-F238E27FC236}">
                  <a16:creationId xmlns:a16="http://schemas.microsoft.com/office/drawing/2014/main" id="{CCCB0AE4-DFA2-4D0E-A6C7-95771EAAC8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60204" y="3744443"/>
              <a:ext cx="1638130" cy="84813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837" b="1">
                  <a:solidFill>
                    <a:srgbClr val="406B9B"/>
                  </a:solidFill>
                </a:rPr>
                <a:t>Testate</a:t>
              </a:r>
              <a:r>
                <a:rPr lang="it-IT" sz="1837">
                  <a:solidFill>
                    <a:srgbClr val="406B9B"/>
                  </a:solidFill>
                </a:rPr>
                <a:t> nazionali e internazionali</a:t>
              </a:r>
              <a:endParaRPr lang="it-IT" sz="1837" b="1">
                <a:solidFill>
                  <a:srgbClr val="406B9B"/>
                </a:solidFill>
              </a:endParaRPr>
            </a:p>
          </p:txBody>
        </p:sp>
        <p:pic>
          <p:nvPicPr>
            <p:cNvPr id="28" name="Picture 2">
              <a:extLst>
                <a:ext uri="{FF2B5EF4-FFF2-40B4-BE49-F238E27FC236}">
                  <a16:creationId xmlns:a16="http://schemas.microsoft.com/office/drawing/2014/main" id="{0F2A5E51-A54B-4663-B398-924CA92F3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32742" y="3630315"/>
              <a:ext cx="516683" cy="5123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9" name="VerticalLine4 16">
              <a:extLst>
                <a:ext uri="{FF2B5EF4-FFF2-40B4-BE49-F238E27FC236}">
                  <a16:creationId xmlns:a16="http://schemas.microsoft.com/office/drawing/2014/main" id="{BED5A255-93FD-4B6F-B800-9909EB77722F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gray">
            <a:xfrm>
              <a:off x="1720797" y="3583669"/>
              <a:ext cx="0" cy="994730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9">
            <a:extLst>
              <a:ext uri="{FF2B5EF4-FFF2-40B4-BE49-F238E27FC236}">
                <a16:creationId xmlns:a16="http://schemas.microsoft.com/office/drawing/2014/main" id="{C12C8563-6F9D-4950-9373-2D58335EE84C}"/>
              </a:ext>
            </a:extLst>
          </p:cNvPr>
          <p:cNvGrpSpPr/>
          <p:nvPr/>
        </p:nvGrpSpPr>
        <p:grpSpPr>
          <a:xfrm>
            <a:off x="8566182" y="973576"/>
            <a:ext cx="3355144" cy="1150424"/>
            <a:chOff x="-39581" y="3583669"/>
            <a:chExt cx="3288400" cy="1127539"/>
          </a:xfrm>
        </p:grpSpPr>
        <p:sp>
          <p:nvSpPr>
            <p:cNvPr id="31" name="TextBox 63">
              <a:extLst>
                <a:ext uri="{FF2B5EF4-FFF2-40B4-BE49-F238E27FC236}">
                  <a16:creationId xmlns:a16="http://schemas.microsoft.com/office/drawing/2014/main" id="{E84DF166-3B21-4336-A139-03BD9638B58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39581" y="4083207"/>
              <a:ext cx="1633484" cy="628001"/>
            </a:xfrm>
            <a:prstGeom prst="rect">
              <a:avLst/>
            </a:prstGeom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r"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4081" b="1">
                  <a:solidFill>
                    <a:srgbClr val="406B9B"/>
                  </a:solidFill>
                </a:rPr>
                <a:t>+1.000</a:t>
              </a:r>
              <a:endParaRPr lang="it-IT" sz="4081">
                <a:solidFill>
                  <a:srgbClr val="406B9B"/>
                </a:solidFill>
              </a:endParaRPr>
            </a:p>
          </p:txBody>
        </p:sp>
        <p:sp>
          <p:nvSpPr>
            <p:cNvPr id="32" name="TextBox 64">
              <a:extLst>
                <a:ext uri="{FF2B5EF4-FFF2-40B4-BE49-F238E27FC236}">
                  <a16:creationId xmlns:a16="http://schemas.microsoft.com/office/drawing/2014/main" id="{CCCB0AE4-DFA2-4D0E-A6C7-95771EAAC8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02148" y="4295349"/>
              <a:ext cx="1446671" cy="28271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003A79"/>
                </a:buClr>
              </a:pPr>
              <a:r>
                <a:rPr lang="it-IT" sz="1837" b="1">
                  <a:solidFill>
                    <a:srgbClr val="406B9B"/>
                  </a:solidFill>
                </a:rPr>
                <a:t>Keywords</a:t>
              </a:r>
              <a:endParaRPr lang="it-IT" sz="2041" b="1">
                <a:solidFill>
                  <a:srgbClr val="406B9B"/>
                </a:solidFill>
              </a:endParaRPr>
            </a:p>
          </p:txBody>
        </p:sp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0F2A5E51-A54B-4663-B398-924CA92F3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128491" y="3641288"/>
              <a:ext cx="414583" cy="4145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4" name="VerticalLine4 16">
              <a:extLst>
                <a:ext uri="{FF2B5EF4-FFF2-40B4-BE49-F238E27FC236}">
                  <a16:creationId xmlns:a16="http://schemas.microsoft.com/office/drawing/2014/main" id="{BED5A255-93FD-4B6F-B800-9909EB77722F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1691769" y="3583669"/>
              <a:ext cx="0" cy="994730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err="1"/>
              <a:t>Innovation</a:t>
            </a:r>
            <a:r>
              <a:rPr lang="it-IT"/>
              <a:t> News</a:t>
            </a:r>
            <a:br>
              <a:rPr lang="it-IT" i="1"/>
            </a:br>
            <a:endParaRPr lang="it-IT"/>
          </a:p>
        </p:txBody>
      </p:sp>
      <p:pic>
        <p:nvPicPr>
          <p:cNvPr id="50" name="Immagine 49">
            <a:extLst>
              <a:ext uri="{FF2B5EF4-FFF2-40B4-BE49-F238E27FC236}">
                <a16:creationId xmlns:a16="http://schemas.microsoft.com/office/drawing/2014/main" id="{FD166074-8A4D-2943-BC15-2795585061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8050" y="2747779"/>
            <a:ext cx="3336057" cy="4110170"/>
          </a:xfrm>
          <a:prstGeom prst="rect">
            <a:avLst/>
          </a:prstGeom>
        </p:spPr>
      </p:pic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2D75B0F0-B57A-DA4D-9009-65CC42D3266F}"/>
              </a:ext>
            </a:extLst>
          </p:cNvPr>
          <p:cNvSpPr txBox="1"/>
          <p:nvPr/>
        </p:nvSpPr>
        <p:spPr>
          <a:xfrm>
            <a:off x="308929" y="2702934"/>
            <a:ext cx="3059538" cy="991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 panose="020B0502020202020204" pitchFamily="34" charset="0"/>
              </a:rPr>
              <a:t>OTTIMIZZATO PER </a:t>
            </a:r>
            <a:br>
              <a:rPr lang="it-IT" sz="1400" b="1">
                <a:solidFill>
                  <a:srgbClr val="406B9B"/>
                </a:solidFill>
                <a:latin typeface="Century Gothic" panose="020B0502020202020204" pitchFamily="34" charset="0"/>
              </a:rPr>
            </a:br>
            <a:r>
              <a:rPr lang="it-IT" sz="1400" b="1">
                <a:solidFill>
                  <a:srgbClr val="406B9B"/>
                </a:solidFill>
                <a:latin typeface="Century Gothic" panose="020B0502020202020204" pitchFamily="34" charset="0"/>
              </a:rPr>
              <a:t>PC, TABLET E SMARTPHONE</a:t>
            </a:r>
          </a:p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 panose="020B0502020202020204" pitchFamily="34" charset="0"/>
              </a:rPr>
              <a:t>Scegli il device che ti è più comodo, al lavoro o a casa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DCBDF591-E234-844B-B00B-FCA1EA69C942}"/>
              </a:ext>
            </a:extLst>
          </p:cNvPr>
          <p:cNvSpPr txBox="1"/>
          <p:nvPr/>
        </p:nvSpPr>
        <p:spPr>
          <a:xfrm>
            <a:off x="510937" y="3968739"/>
            <a:ext cx="2857530" cy="11738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/>
              </a:rPr>
              <a:t>NEWSLETTER</a:t>
            </a:r>
          </a:p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Ricevi nella tua casella di posta una sintesi delle notizie più importanti in base agli argomenti da te scelti</a:t>
            </a:r>
            <a:endParaRPr lang="it-IT" sz="1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734ACBE7-8828-B440-9F56-A5A0CBC84272}"/>
              </a:ext>
            </a:extLst>
          </p:cNvPr>
          <p:cNvSpPr txBox="1"/>
          <p:nvPr/>
        </p:nvSpPr>
        <p:spPr>
          <a:xfrm>
            <a:off x="308929" y="5277407"/>
            <a:ext cx="3059538" cy="766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 panose="020B0502020202020204" pitchFamily="34" charset="0"/>
              </a:rPr>
              <a:t>NESSUNA DISTRAZIONE</a:t>
            </a:r>
          </a:p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 panose="020B0502020202020204" pitchFamily="34" charset="0"/>
              </a:rPr>
              <a:t>Una esperienza di lettura libera da pubblicità, banner e pop up  </a:t>
            </a: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9068CD76-83B1-3044-82E8-9682253A8C60}"/>
              </a:ext>
            </a:extLst>
          </p:cNvPr>
          <p:cNvSpPr txBox="1"/>
          <p:nvPr/>
        </p:nvSpPr>
        <p:spPr>
          <a:xfrm>
            <a:off x="8771780" y="2702934"/>
            <a:ext cx="2929058" cy="11738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/>
              </a:rPr>
              <a:t>SOLO FONTI QUALIFICATE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Incluse oltre 500 fonti tra gratuite e a pagamento provenienti da carta stampata e Web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8370717D-A867-3E40-86AE-61A49F67A265}"/>
              </a:ext>
            </a:extLst>
          </p:cNvPr>
          <p:cNvSpPr txBox="1"/>
          <p:nvPr/>
        </p:nvSpPr>
        <p:spPr>
          <a:xfrm>
            <a:off x="8771780" y="3968739"/>
            <a:ext cx="3016260" cy="991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 panose="020B0502020202020204" pitchFamily="34" charset="0"/>
              </a:rPr>
              <a:t>ESPERIENZA PERSONALIZZATA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 panose="020B0502020202020204" pitchFamily="34" charset="0"/>
              </a:rPr>
              <a:t>Scegli tra gli oltre 35 argomenti disponibili quelli più interessanti per te</a:t>
            </a: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CD721ECB-8B40-394D-91CD-D93DD66DAF95}"/>
              </a:ext>
            </a:extLst>
          </p:cNvPr>
          <p:cNvSpPr txBox="1"/>
          <p:nvPr/>
        </p:nvSpPr>
        <p:spPr>
          <a:xfrm>
            <a:off x="8738460" y="5277407"/>
            <a:ext cx="3144611" cy="7429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 b="1">
                <a:solidFill>
                  <a:srgbClr val="406B9B"/>
                </a:solidFill>
                <a:latin typeface="Century Gothic"/>
              </a:rPr>
              <a:t>UN ARCHIVIO DI CONOSCIENZA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Salva le notizie più importanti e crea il tuo archivio di Knowledge</a:t>
            </a:r>
            <a:endParaRPr lang="it-IT" sz="1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7" name="Gruppo 56">
            <a:extLst>
              <a:ext uri="{FF2B5EF4-FFF2-40B4-BE49-F238E27FC236}">
                <a16:creationId xmlns:a16="http://schemas.microsoft.com/office/drawing/2014/main" id="{FA73A23E-C998-A24A-AC5F-C3C75DAAB9B4}"/>
              </a:ext>
            </a:extLst>
          </p:cNvPr>
          <p:cNvGrpSpPr/>
          <p:nvPr/>
        </p:nvGrpSpPr>
        <p:grpSpPr>
          <a:xfrm>
            <a:off x="3464650" y="2769287"/>
            <a:ext cx="849979" cy="849979"/>
            <a:chOff x="1278318" y="1159711"/>
            <a:chExt cx="833058" cy="833058"/>
          </a:xfrm>
        </p:grpSpPr>
        <p:sp>
          <p:nvSpPr>
            <p:cNvPr id="58" name="Oval 27">
              <a:extLst>
                <a:ext uri="{FF2B5EF4-FFF2-40B4-BE49-F238E27FC236}">
                  <a16:creationId xmlns:a16="http://schemas.microsoft.com/office/drawing/2014/main" id="{839D5A63-578C-3F47-B080-6116A58F34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59" name="Picture 9">
              <a:extLst>
                <a:ext uri="{FF2B5EF4-FFF2-40B4-BE49-F238E27FC236}">
                  <a16:creationId xmlns:a16="http://schemas.microsoft.com/office/drawing/2014/main" id="{80E8229D-86FA-8946-B426-9224729194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/>
          </p:blipFill>
          <p:spPr bwMode="auto">
            <a:xfrm>
              <a:off x="1439086" y="1329736"/>
              <a:ext cx="525592" cy="525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uppo 59">
            <a:extLst>
              <a:ext uri="{FF2B5EF4-FFF2-40B4-BE49-F238E27FC236}">
                <a16:creationId xmlns:a16="http://schemas.microsoft.com/office/drawing/2014/main" id="{5784C460-6A65-884A-B130-E894EFFD6061}"/>
              </a:ext>
            </a:extLst>
          </p:cNvPr>
          <p:cNvGrpSpPr/>
          <p:nvPr/>
        </p:nvGrpSpPr>
        <p:grpSpPr>
          <a:xfrm>
            <a:off x="3464650" y="3998196"/>
            <a:ext cx="849979" cy="849979"/>
            <a:chOff x="1278318" y="1159711"/>
            <a:chExt cx="833058" cy="833058"/>
          </a:xfrm>
        </p:grpSpPr>
        <p:sp>
          <p:nvSpPr>
            <p:cNvPr id="61" name="Oval 27">
              <a:extLst>
                <a:ext uri="{FF2B5EF4-FFF2-40B4-BE49-F238E27FC236}">
                  <a16:creationId xmlns:a16="http://schemas.microsoft.com/office/drawing/2014/main" id="{9671C671-37D7-E24B-8EDB-1D0E735638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2" name="Picture 9">
              <a:extLst>
                <a:ext uri="{FF2B5EF4-FFF2-40B4-BE49-F238E27FC236}">
                  <a16:creationId xmlns:a16="http://schemas.microsoft.com/office/drawing/2014/main" id="{4182338B-C0AD-1A47-9522-A7D124317B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/>
            <a:srcRect/>
            <a:stretch/>
          </p:blipFill>
          <p:spPr bwMode="auto">
            <a:xfrm>
              <a:off x="1432352" y="1308846"/>
              <a:ext cx="536015" cy="536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Gruppo 62">
            <a:extLst>
              <a:ext uri="{FF2B5EF4-FFF2-40B4-BE49-F238E27FC236}">
                <a16:creationId xmlns:a16="http://schemas.microsoft.com/office/drawing/2014/main" id="{B1B62106-020D-C743-9B9E-549F1DF52F95}"/>
              </a:ext>
            </a:extLst>
          </p:cNvPr>
          <p:cNvGrpSpPr/>
          <p:nvPr/>
        </p:nvGrpSpPr>
        <p:grpSpPr>
          <a:xfrm>
            <a:off x="3488159" y="5244390"/>
            <a:ext cx="849979" cy="849979"/>
            <a:chOff x="1278318" y="1159711"/>
            <a:chExt cx="833058" cy="833058"/>
          </a:xfrm>
        </p:grpSpPr>
        <p:sp>
          <p:nvSpPr>
            <p:cNvPr id="64" name="Oval 27">
              <a:extLst>
                <a:ext uri="{FF2B5EF4-FFF2-40B4-BE49-F238E27FC236}">
                  <a16:creationId xmlns:a16="http://schemas.microsoft.com/office/drawing/2014/main" id="{D5C2740A-0EE9-0A4B-AFE8-05B8F7A0EE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5" name="Picture 9">
              <a:extLst>
                <a:ext uri="{FF2B5EF4-FFF2-40B4-BE49-F238E27FC236}">
                  <a16:creationId xmlns:a16="http://schemas.microsoft.com/office/drawing/2014/main" id="{796C9729-4CF8-D34C-8116-BFC144B240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/>
            <a:srcRect/>
            <a:stretch/>
          </p:blipFill>
          <p:spPr bwMode="auto">
            <a:xfrm>
              <a:off x="1433078" y="1334054"/>
              <a:ext cx="516954" cy="516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uppo 65">
            <a:extLst>
              <a:ext uri="{FF2B5EF4-FFF2-40B4-BE49-F238E27FC236}">
                <a16:creationId xmlns:a16="http://schemas.microsoft.com/office/drawing/2014/main" id="{BC983D9F-B8D7-3643-9928-D87541D4B574}"/>
              </a:ext>
            </a:extLst>
          </p:cNvPr>
          <p:cNvGrpSpPr/>
          <p:nvPr/>
        </p:nvGrpSpPr>
        <p:grpSpPr>
          <a:xfrm>
            <a:off x="7824322" y="2807778"/>
            <a:ext cx="849979" cy="849979"/>
            <a:chOff x="1278318" y="1159711"/>
            <a:chExt cx="833058" cy="833058"/>
          </a:xfrm>
        </p:grpSpPr>
        <p:sp>
          <p:nvSpPr>
            <p:cNvPr id="67" name="Oval 27">
              <a:extLst>
                <a:ext uri="{FF2B5EF4-FFF2-40B4-BE49-F238E27FC236}">
                  <a16:creationId xmlns:a16="http://schemas.microsoft.com/office/drawing/2014/main" id="{9B6DF55F-C0BD-2A4C-A655-14D070C569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8" name="Picture 9">
              <a:extLst>
                <a:ext uri="{FF2B5EF4-FFF2-40B4-BE49-F238E27FC236}">
                  <a16:creationId xmlns:a16="http://schemas.microsoft.com/office/drawing/2014/main" id="{7BFBD599-B839-0B4F-816E-0ACD973C98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/>
            <a:srcRect/>
            <a:stretch/>
          </p:blipFill>
          <p:spPr bwMode="auto">
            <a:xfrm>
              <a:off x="1403099" y="1298361"/>
              <a:ext cx="574037" cy="574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uppo 68">
            <a:extLst>
              <a:ext uri="{FF2B5EF4-FFF2-40B4-BE49-F238E27FC236}">
                <a16:creationId xmlns:a16="http://schemas.microsoft.com/office/drawing/2014/main" id="{27AC1592-710C-6643-9D18-8A3B850C3CA3}"/>
              </a:ext>
            </a:extLst>
          </p:cNvPr>
          <p:cNvGrpSpPr/>
          <p:nvPr/>
        </p:nvGrpSpPr>
        <p:grpSpPr>
          <a:xfrm>
            <a:off x="7824322" y="4018260"/>
            <a:ext cx="849979" cy="849979"/>
            <a:chOff x="1278318" y="1159711"/>
            <a:chExt cx="833058" cy="833058"/>
          </a:xfrm>
        </p:grpSpPr>
        <p:sp>
          <p:nvSpPr>
            <p:cNvPr id="70" name="Oval 27">
              <a:extLst>
                <a:ext uri="{FF2B5EF4-FFF2-40B4-BE49-F238E27FC236}">
                  <a16:creationId xmlns:a16="http://schemas.microsoft.com/office/drawing/2014/main" id="{216955C7-AA91-0749-AC14-99BABAEB69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1" name="Picture 9">
              <a:extLst>
                <a:ext uri="{FF2B5EF4-FFF2-40B4-BE49-F238E27FC236}">
                  <a16:creationId xmlns:a16="http://schemas.microsoft.com/office/drawing/2014/main" id="{EC6E4D67-541F-5548-BDBE-CD1664AD2E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/>
            <a:srcRect/>
            <a:stretch/>
          </p:blipFill>
          <p:spPr bwMode="auto">
            <a:xfrm>
              <a:off x="1444494" y="1311605"/>
              <a:ext cx="513592" cy="513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" name="Gruppo 71">
            <a:extLst>
              <a:ext uri="{FF2B5EF4-FFF2-40B4-BE49-F238E27FC236}">
                <a16:creationId xmlns:a16="http://schemas.microsoft.com/office/drawing/2014/main" id="{B910931A-2CC7-A549-B7BA-688452EB1161}"/>
              </a:ext>
            </a:extLst>
          </p:cNvPr>
          <p:cNvGrpSpPr/>
          <p:nvPr/>
        </p:nvGrpSpPr>
        <p:grpSpPr>
          <a:xfrm>
            <a:off x="7847831" y="5244390"/>
            <a:ext cx="849979" cy="849979"/>
            <a:chOff x="1278318" y="1159711"/>
            <a:chExt cx="833058" cy="833058"/>
          </a:xfrm>
        </p:grpSpPr>
        <p:sp>
          <p:nvSpPr>
            <p:cNvPr id="73" name="Oval 27">
              <a:extLst>
                <a:ext uri="{FF2B5EF4-FFF2-40B4-BE49-F238E27FC236}">
                  <a16:creationId xmlns:a16="http://schemas.microsoft.com/office/drawing/2014/main" id="{5593F9DB-AD97-3B40-B813-EC8BC78460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8318" y="1159711"/>
              <a:ext cx="833058" cy="833058"/>
            </a:xfrm>
            <a:prstGeom prst="ellipse">
              <a:avLst/>
            </a:prstGeom>
            <a:noFill/>
            <a:ln w="1270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32" err="1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4" name="Picture 9">
              <a:extLst>
                <a:ext uri="{FF2B5EF4-FFF2-40B4-BE49-F238E27FC236}">
                  <a16:creationId xmlns:a16="http://schemas.microsoft.com/office/drawing/2014/main" id="{02C39905-510F-AB49-B47D-1CC7DC9DC6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/>
            <a:srcRect/>
            <a:stretch/>
          </p:blipFill>
          <p:spPr bwMode="auto">
            <a:xfrm>
              <a:off x="1457443" y="1353104"/>
              <a:ext cx="464902" cy="4649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24270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53121BDF-48EE-42E7-9B7A-017124B31EC6}"/>
              </a:ext>
            </a:extLst>
          </p:cNvPr>
          <p:cNvSpPr txBox="1"/>
          <p:nvPr/>
        </p:nvSpPr>
        <p:spPr>
          <a:xfrm>
            <a:off x="531366" y="762588"/>
            <a:ext cx="10127572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932962" fontAlgn="base">
              <a:spcBef>
                <a:spcPts val="612"/>
              </a:spcBef>
              <a:spcAft>
                <a:spcPct val="0"/>
              </a:spcAft>
            </a:pPr>
            <a:r>
              <a:rPr lang="it-IT" sz="2000">
                <a:solidFill>
                  <a:srgbClr val="000000">
                    <a:lumMod val="50000"/>
                    <a:lumOff val="50000"/>
                  </a:srgbClr>
                </a:solidFill>
                <a:latin typeface="Century Gothic" pitchFamily="34" charset="0"/>
                <a:cs typeface="Arial" pitchFamily="34" charset="0"/>
                <a:sym typeface="Century Gothic" panose="020B0502020202020204" pitchFamily="34" charset="0"/>
              </a:rPr>
              <a:t>Uno sguardo sul futuro</a:t>
            </a:r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9607" y="3593291"/>
            <a:ext cx="4592326" cy="2885511"/>
          </a:xfrm>
          <a:prstGeom prst="rect">
            <a:avLst/>
          </a:prstGeom>
        </p:spPr>
      </p:pic>
      <p:sp>
        <p:nvSpPr>
          <p:cNvPr id="25" name="TextBox 64">
            <a:extLst>
              <a:ext uri="{FF2B5EF4-FFF2-40B4-BE49-F238E27FC236}">
                <a16:creationId xmlns:a16="http://schemas.microsoft.com/office/drawing/2014/main" id="{CCCB0AE4-DFA2-4D0E-A6C7-95771EAAC8E3}"/>
              </a:ext>
            </a:extLst>
          </p:cNvPr>
          <p:cNvSpPr txBox="1">
            <a:spLocks/>
          </p:cNvSpPr>
          <p:nvPr/>
        </p:nvSpPr>
        <p:spPr bwMode="gray">
          <a:xfrm>
            <a:off x="549897" y="1313492"/>
            <a:ext cx="4920170" cy="150810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00" b="1">
                <a:solidFill>
                  <a:srgbClr val="406B9B"/>
                </a:solidFill>
                <a:latin typeface="Century Gothic"/>
              </a:rPr>
              <a:t>INDUSTRY TREND REPORT</a:t>
            </a:r>
          </a:p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400">
                <a:solidFill>
                  <a:srgbClr val="000000"/>
                </a:solidFill>
                <a:latin typeface="Century Gothic"/>
              </a:rPr>
              <a:t>Studi e ricerche su uno specifico verticale industriale o su un ambito cross </a:t>
            </a:r>
            <a:r>
              <a:rPr lang="it-IT" sz="1400" err="1">
                <a:solidFill>
                  <a:srgbClr val="000000"/>
                </a:solidFill>
                <a:latin typeface="Century Gothic"/>
              </a:rPr>
              <a:t>industry</a:t>
            </a:r>
            <a:r>
              <a:rPr lang="it-IT" sz="1400">
                <a:solidFill>
                  <a:srgbClr val="000000"/>
                </a:solidFill>
                <a:latin typeface="Century Gothic"/>
              </a:rPr>
              <a:t> con l’obiettivo di evidenziare ed approfondire le tecnologie, le principali innovazioni ed i key player del settore. </a:t>
            </a:r>
          </a:p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endParaRPr lang="it-IT" sz="1600" b="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 lIns="0" tIns="0" rIns="0" bIns="0" anchor="t"/>
          <a:lstStyle/>
          <a:p>
            <a:r>
              <a:rPr lang="it-IT">
                <a:latin typeface="Century Gothic"/>
              </a:rPr>
              <a:t>Trend Report</a:t>
            </a:r>
          </a:p>
        </p:txBody>
      </p: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78CD3E6C-9482-4D7E-B6E8-0588E6A61ED7}"/>
              </a:ext>
            </a:extLst>
          </p:cNvPr>
          <p:cNvGrpSpPr/>
          <p:nvPr/>
        </p:nvGrpSpPr>
        <p:grpSpPr>
          <a:xfrm>
            <a:off x="255308" y="2905744"/>
            <a:ext cx="5579435" cy="3700153"/>
            <a:chOff x="3452524" y="1583616"/>
            <a:chExt cx="5579435" cy="3870999"/>
          </a:xfrm>
        </p:grpSpPr>
        <p:sp>
          <p:nvSpPr>
            <p:cNvPr id="42" name="Shape 540" descr="Circle">
              <a:extLst>
                <a:ext uri="{FF2B5EF4-FFF2-40B4-BE49-F238E27FC236}">
                  <a16:creationId xmlns:a16="http://schemas.microsoft.com/office/drawing/2014/main" id="{4090F057-71B5-4F8A-8950-4E8E2E56C17D}"/>
                </a:ext>
              </a:extLst>
            </p:cNvPr>
            <p:cNvSpPr/>
            <p:nvPr/>
          </p:nvSpPr>
          <p:spPr>
            <a:xfrm>
              <a:off x="5045699" y="2250771"/>
              <a:ext cx="2340000" cy="2448044"/>
            </a:xfrm>
            <a:prstGeom prst="ellipse">
              <a:avLst/>
            </a:prstGeom>
            <a:ln w="19050">
              <a:solidFill>
                <a:schemeClr val="accent1"/>
              </a:solidFill>
              <a:miter lim="400000"/>
            </a:ln>
          </p:spPr>
          <p:txBody>
            <a:bodyPr lIns="25400" tIns="25400" rIns="25400" bIns="25400" anchor="ctr"/>
            <a:lstStyle/>
            <a:p>
              <a:pPr defTabSz="154772">
                <a:defRPr sz="1200"/>
              </a:pPr>
              <a:endParaRPr sz="600">
                <a:latin typeface="Arial Nova Cond" panose="020B0506020202020204" pitchFamily="34" charset="0"/>
              </a:endParaRPr>
            </a:p>
          </p:txBody>
        </p:sp>
        <p:sp>
          <p:nvSpPr>
            <p:cNvPr id="43" name="Shape 547" descr="Text">
              <a:extLst>
                <a:ext uri="{FF2B5EF4-FFF2-40B4-BE49-F238E27FC236}">
                  <a16:creationId xmlns:a16="http://schemas.microsoft.com/office/drawing/2014/main" id="{12435A6F-DB1B-4FE5-BACF-6D009ADE9D69}"/>
                </a:ext>
              </a:extLst>
            </p:cNvPr>
            <p:cNvSpPr/>
            <p:nvPr/>
          </p:nvSpPr>
          <p:spPr>
            <a:xfrm>
              <a:off x="7658705" y="3340687"/>
              <a:ext cx="1373254" cy="19637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60959" tIns="60959" rIns="60959" bIns="60959">
              <a:spAutoFit/>
            </a:bodyPr>
            <a:lstStyle>
              <a:lvl1pPr algn="l" defTabSz="1219200">
                <a:defRPr sz="26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sz="1300"/>
                <a:t> </a:t>
              </a:r>
            </a:p>
          </p:txBody>
        </p:sp>
        <p:sp>
          <p:nvSpPr>
            <p:cNvPr id="44" name="Shape 549" descr="Automotive…">
              <a:extLst>
                <a:ext uri="{FF2B5EF4-FFF2-40B4-BE49-F238E27FC236}">
                  <a16:creationId xmlns:a16="http://schemas.microsoft.com/office/drawing/2014/main" id="{043534B7-B05A-4DF0-A03D-2F4EC043DD85}"/>
                </a:ext>
              </a:extLst>
            </p:cNvPr>
            <p:cNvSpPr/>
            <p:nvPr/>
          </p:nvSpPr>
          <p:spPr>
            <a:xfrm>
              <a:off x="3638274" y="2405821"/>
              <a:ext cx="1546513" cy="45078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/>
            <a:p>
              <a:pPr algn="r"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pPr>
              <a:r>
                <a:rPr sz="1000">
                  <a:latin typeface="Century Gothic" panose="020B0502020202020204" pitchFamily="34" charset="0"/>
                </a:rPr>
                <a:t>Automotive </a:t>
              </a:r>
              <a:endParaRPr sz="100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  <a:p>
              <a:pPr algn="r"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pPr>
              <a:r>
                <a:rPr sz="1000">
                  <a:latin typeface="Century Gothic" panose="020B0502020202020204" pitchFamily="34" charset="0"/>
                </a:rPr>
                <a:t>and Mechanics</a:t>
              </a:r>
            </a:p>
          </p:txBody>
        </p:sp>
        <p:sp>
          <p:nvSpPr>
            <p:cNvPr id="45" name="Shape 550" descr="Fashion and Design">
              <a:extLst>
                <a:ext uri="{FF2B5EF4-FFF2-40B4-BE49-F238E27FC236}">
                  <a16:creationId xmlns:a16="http://schemas.microsoft.com/office/drawing/2014/main" id="{97142FA0-FCCB-407E-A21B-721A8FF63BA1}"/>
                </a:ext>
              </a:extLst>
            </p:cNvPr>
            <p:cNvSpPr/>
            <p:nvPr/>
          </p:nvSpPr>
          <p:spPr>
            <a:xfrm>
              <a:off x="5665998" y="1583616"/>
              <a:ext cx="1421315" cy="28978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defTabSz="1219200"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lang="it-IT" sz="1000" err="1">
                  <a:latin typeface="Century Gothic" panose="020B0502020202020204" pitchFamily="34" charset="0"/>
                </a:rPr>
                <a:t>Sustainable</a:t>
              </a:r>
              <a:r>
                <a:rPr lang="it-IT" sz="1000">
                  <a:latin typeface="Century Gothic" panose="020B0502020202020204" pitchFamily="34" charset="0"/>
                </a:rPr>
                <a:t> Cities</a:t>
              </a:r>
              <a:endParaRPr sz="1000">
                <a:latin typeface="Century Gothic" panose="020B0502020202020204" pitchFamily="34" charset="0"/>
              </a:endParaRPr>
            </a:p>
          </p:txBody>
        </p:sp>
        <p:sp>
          <p:nvSpPr>
            <p:cNvPr id="46" name="Shape 551" descr="Energy, Utilities…">
              <a:extLst>
                <a:ext uri="{FF2B5EF4-FFF2-40B4-BE49-F238E27FC236}">
                  <a16:creationId xmlns:a16="http://schemas.microsoft.com/office/drawing/2014/main" id="{B1ACB082-C41F-41A8-8359-2ED85FB46993}"/>
                </a:ext>
              </a:extLst>
            </p:cNvPr>
            <p:cNvSpPr/>
            <p:nvPr/>
          </p:nvSpPr>
          <p:spPr>
            <a:xfrm>
              <a:off x="3452524" y="3132829"/>
              <a:ext cx="1282863" cy="46419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/>
            <a:p>
              <a:pPr algn="r">
                <a:spcBef>
                  <a:spcPts val="1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pPr>
              <a:r>
                <a:rPr lang="en-GB" sz="1000">
                  <a:latin typeface="Century Gothic" panose="020B0502020202020204" pitchFamily="34" charset="0"/>
                </a:rPr>
                <a:t>Energy, Utilities</a:t>
              </a:r>
              <a:endParaRPr lang="en-GB" sz="100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  <a:p>
              <a:pPr algn="r">
                <a:spcBef>
                  <a:spcPts val="1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pPr>
              <a:r>
                <a:rPr lang="en-GB" sz="1000">
                  <a:latin typeface="Century Gothic" panose="020B0502020202020204" pitchFamily="34" charset="0"/>
                </a:rPr>
                <a:t>and Environment</a:t>
              </a:r>
            </a:p>
          </p:txBody>
        </p:sp>
        <p:sp>
          <p:nvSpPr>
            <p:cNvPr id="47" name="Shape 552" descr="Tourism, Exhibition and Events">
              <a:extLst>
                <a:ext uri="{FF2B5EF4-FFF2-40B4-BE49-F238E27FC236}">
                  <a16:creationId xmlns:a16="http://schemas.microsoft.com/office/drawing/2014/main" id="{C43DFBEE-1328-47CF-8463-633EEBD6FB32}"/>
                </a:ext>
              </a:extLst>
            </p:cNvPr>
            <p:cNvSpPr/>
            <p:nvPr/>
          </p:nvSpPr>
          <p:spPr>
            <a:xfrm>
              <a:off x="7416987" y="2450244"/>
              <a:ext cx="1313030" cy="28978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algn="l" defTabSz="1219200">
                <a:spcBef>
                  <a:spcPts val="2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lang="it-IT" sz="1000" err="1">
                  <a:latin typeface="Century Gothic" panose="020B0502020202020204" pitchFamily="34" charset="0"/>
                </a:rPr>
                <a:t>Decarbonisation</a:t>
              </a:r>
              <a:endParaRPr sz="1000">
                <a:latin typeface="Century Gothic" panose="020B0502020202020204" pitchFamily="34" charset="0"/>
              </a:endParaRPr>
            </a:p>
          </p:txBody>
        </p:sp>
        <p:sp>
          <p:nvSpPr>
            <p:cNvPr id="48" name="Shape 553" descr="Agriculture, Food and Beverage">
              <a:extLst>
                <a:ext uri="{FF2B5EF4-FFF2-40B4-BE49-F238E27FC236}">
                  <a16:creationId xmlns:a16="http://schemas.microsoft.com/office/drawing/2014/main" id="{866BBF22-9E29-482D-8E00-3F6BB253374D}"/>
                </a:ext>
              </a:extLst>
            </p:cNvPr>
            <p:cNvSpPr/>
            <p:nvPr/>
          </p:nvSpPr>
          <p:spPr>
            <a:xfrm>
              <a:off x="3935655" y="4119341"/>
              <a:ext cx="1144463" cy="61177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algn="r" defTabSz="1219200">
                <a:spcBef>
                  <a:spcPts val="2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sz="1000">
                  <a:latin typeface="Century Gothic" panose="020B0502020202020204" pitchFamily="34" charset="0"/>
                </a:rPr>
                <a:t>Agriculture, Food and Beverage</a:t>
              </a:r>
            </a:p>
          </p:txBody>
        </p:sp>
        <p:sp>
          <p:nvSpPr>
            <p:cNvPr id="49" name="Shape 554" descr="Biotech, Pharma Healthcare equipment">
              <a:extLst>
                <a:ext uri="{FF2B5EF4-FFF2-40B4-BE49-F238E27FC236}">
                  <a16:creationId xmlns:a16="http://schemas.microsoft.com/office/drawing/2014/main" id="{E1BADD18-97B7-4D56-9340-15414DA7EE71}"/>
                </a:ext>
              </a:extLst>
            </p:cNvPr>
            <p:cNvSpPr/>
            <p:nvPr/>
          </p:nvSpPr>
          <p:spPr>
            <a:xfrm>
              <a:off x="7352722" y="4113090"/>
              <a:ext cx="1524486" cy="61177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algn="l" defTabSz="1219200">
                <a:spcBef>
                  <a:spcPts val="2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sz="1000">
                  <a:latin typeface="Century Gothic" panose="020B0502020202020204" pitchFamily="34" charset="0"/>
                </a:rPr>
                <a:t>Biotech, Pharma Healthcare equipment </a:t>
              </a:r>
            </a:p>
          </p:txBody>
        </p:sp>
        <p:sp>
          <p:nvSpPr>
            <p:cNvPr id="50" name="Shape 555" descr="Built Enviroment">
              <a:extLst>
                <a:ext uri="{FF2B5EF4-FFF2-40B4-BE49-F238E27FC236}">
                  <a16:creationId xmlns:a16="http://schemas.microsoft.com/office/drawing/2014/main" id="{D659C8EA-6B40-4654-B326-A4773B79BC3E}"/>
                </a:ext>
              </a:extLst>
            </p:cNvPr>
            <p:cNvSpPr/>
            <p:nvPr/>
          </p:nvSpPr>
          <p:spPr>
            <a:xfrm>
              <a:off x="7658705" y="3239845"/>
              <a:ext cx="1229432" cy="28978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defTabSz="1219200">
                <a:spcBef>
                  <a:spcPts val="2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r>
                <a:rPr lang="en-GB" sz="1000">
                  <a:latin typeface="Century Gothic" panose="020B0502020202020204" pitchFamily="34" charset="0"/>
                </a:rPr>
                <a:t>Built Environment</a:t>
              </a:r>
            </a:p>
          </p:txBody>
        </p:sp>
        <p:grpSp>
          <p:nvGrpSpPr>
            <p:cNvPr id="51" name="Gruppo 50">
              <a:extLst>
                <a:ext uri="{FF2B5EF4-FFF2-40B4-BE49-F238E27FC236}">
                  <a16:creationId xmlns:a16="http://schemas.microsoft.com/office/drawing/2014/main" id="{79AF9F65-3F58-4F5A-AE89-D4C72A0CD2E4}"/>
                </a:ext>
              </a:extLst>
            </p:cNvPr>
            <p:cNvGrpSpPr/>
            <p:nvPr/>
          </p:nvGrpSpPr>
          <p:grpSpPr>
            <a:xfrm>
              <a:off x="4735911" y="3082150"/>
              <a:ext cx="630554" cy="669424"/>
              <a:chOff x="3496730" y="3131627"/>
              <a:chExt cx="1100040" cy="1101624"/>
            </a:xfrm>
          </p:grpSpPr>
          <p:sp>
            <p:nvSpPr>
              <p:cNvPr id="72" name="Shape 543" descr="Circle">
                <a:extLst>
                  <a:ext uri="{FF2B5EF4-FFF2-40B4-BE49-F238E27FC236}">
                    <a16:creationId xmlns:a16="http://schemas.microsoft.com/office/drawing/2014/main" id="{A3E381C8-96C8-4E5E-82F6-BAC6601E26FA}"/>
                  </a:ext>
                </a:extLst>
              </p:cNvPr>
              <p:cNvSpPr/>
              <p:nvPr/>
            </p:nvSpPr>
            <p:spPr>
              <a:xfrm>
                <a:off x="3496730" y="3131627"/>
                <a:ext cx="1100040" cy="1101624"/>
              </a:xfrm>
              <a:prstGeom prst="ellipse">
                <a:avLst/>
              </a:prstGeom>
              <a:solidFill>
                <a:srgbClr val="153975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73" name="image57.png" descr="Image">
                <a:extLst>
                  <a:ext uri="{FF2B5EF4-FFF2-40B4-BE49-F238E27FC236}">
                    <a16:creationId xmlns:a16="http://schemas.microsoft.com/office/drawing/2014/main" id="{0A271771-AC3C-4E4B-AD62-D630C462E8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79866" y="3360989"/>
                <a:ext cx="498501" cy="655320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2" name="Gruppo 51">
              <a:extLst>
                <a:ext uri="{FF2B5EF4-FFF2-40B4-BE49-F238E27FC236}">
                  <a16:creationId xmlns:a16="http://schemas.microsoft.com/office/drawing/2014/main" id="{367ACEE4-F4BC-4F0D-B45F-17DCB065782B}"/>
                </a:ext>
              </a:extLst>
            </p:cNvPr>
            <p:cNvGrpSpPr/>
            <p:nvPr/>
          </p:nvGrpSpPr>
          <p:grpSpPr>
            <a:xfrm>
              <a:off x="5180677" y="2302909"/>
              <a:ext cx="630554" cy="669424"/>
              <a:chOff x="3974576" y="1895131"/>
              <a:chExt cx="1100040" cy="1101624"/>
            </a:xfrm>
          </p:grpSpPr>
          <p:sp>
            <p:nvSpPr>
              <p:cNvPr id="70" name="Shape 548" descr="Circle">
                <a:extLst>
                  <a:ext uri="{FF2B5EF4-FFF2-40B4-BE49-F238E27FC236}">
                    <a16:creationId xmlns:a16="http://schemas.microsoft.com/office/drawing/2014/main" id="{C37F078B-23AD-4ED8-B373-6B2305A53247}"/>
                  </a:ext>
                </a:extLst>
              </p:cNvPr>
              <p:cNvSpPr/>
              <p:nvPr/>
            </p:nvSpPr>
            <p:spPr>
              <a:xfrm>
                <a:off x="3974576" y="1895131"/>
                <a:ext cx="1100040" cy="1101624"/>
              </a:xfrm>
              <a:prstGeom prst="ellipse">
                <a:avLst/>
              </a:prstGeom>
              <a:solidFill>
                <a:srgbClr val="215391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71" name="image58.png" descr="Image">
                <a:extLst>
                  <a:ext uri="{FF2B5EF4-FFF2-40B4-BE49-F238E27FC236}">
                    <a16:creationId xmlns:a16="http://schemas.microsoft.com/office/drawing/2014/main" id="{CB085FFD-03F5-4595-A6C4-D42024DE73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2267" y="2257984"/>
                <a:ext cx="699256" cy="35052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sp>
          <p:nvSpPr>
            <p:cNvPr id="53" name="Shape 546" descr="Circle">
              <a:extLst>
                <a:ext uri="{FF2B5EF4-FFF2-40B4-BE49-F238E27FC236}">
                  <a16:creationId xmlns:a16="http://schemas.microsoft.com/office/drawing/2014/main" id="{77481C67-1D37-4AA8-90A4-C4059F313BD0}"/>
                </a:ext>
              </a:extLst>
            </p:cNvPr>
            <p:cNvSpPr/>
            <p:nvPr/>
          </p:nvSpPr>
          <p:spPr>
            <a:xfrm>
              <a:off x="5897703" y="1864228"/>
              <a:ext cx="599605" cy="636568"/>
            </a:xfrm>
            <a:prstGeom prst="ellipse">
              <a:avLst/>
            </a:prstGeom>
            <a:solidFill>
              <a:srgbClr val="8699C5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>
                <a:latin typeface="Arial Nova Cond" panose="020B0506020202020204" pitchFamily="34" charset="0"/>
              </a:endParaRPr>
            </a:p>
          </p:txBody>
        </p:sp>
        <p:sp>
          <p:nvSpPr>
            <p:cNvPr id="54" name="Shape 545" descr="Circle">
              <a:extLst>
                <a:ext uri="{FF2B5EF4-FFF2-40B4-BE49-F238E27FC236}">
                  <a16:creationId xmlns:a16="http://schemas.microsoft.com/office/drawing/2014/main" id="{DC71D60E-6F32-4DFE-BEC0-F33BE7F9EF66}"/>
                </a:ext>
              </a:extLst>
            </p:cNvPr>
            <p:cNvSpPr/>
            <p:nvPr/>
          </p:nvSpPr>
          <p:spPr>
            <a:xfrm>
              <a:off x="6697979" y="2319337"/>
              <a:ext cx="599605" cy="636568"/>
            </a:xfrm>
            <a:prstGeom prst="ellipse">
              <a:avLst/>
            </a:prstGeom>
            <a:solidFill>
              <a:srgbClr val="153975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>
                <a:latin typeface="Arial Nova Cond" panose="020B0506020202020204" pitchFamily="34" charset="0"/>
              </a:endParaRPr>
            </a:p>
          </p:txBody>
        </p:sp>
        <p:grpSp>
          <p:nvGrpSpPr>
            <p:cNvPr id="55" name="Gruppo 54">
              <a:extLst>
                <a:ext uri="{FF2B5EF4-FFF2-40B4-BE49-F238E27FC236}">
                  <a16:creationId xmlns:a16="http://schemas.microsoft.com/office/drawing/2014/main" id="{0B019F43-356D-4E56-92EF-A167448D41C4}"/>
                </a:ext>
              </a:extLst>
            </p:cNvPr>
            <p:cNvGrpSpPr/>
            <p:nvPr/>
          </p:nvGrpSpPr>
          <p:grpSpPr>
            <a:xfrm>
              <a:off x="7042710" y="3098579"/>
              <a:ext cx="599605" cy="636568"/>
              <a:chOff x="7521084" y="3109714"/>
              <a:chExt cx="1046048" cy="1047556"/>
            </a:xfrm>
          </p:grpSpPr>
          <p:sp>
            <p:nvSpPr>
              <p:cNvPr id="68" name="Shape 544" descr="Circle">
                <a:extLst>
                  <a:ext uri="{FF2B5EF4-FFF2-40B4-BE49-F238E27FC236}">
                    <a16:creationId xmlns:a16="http://schemas.microsoft.com/office/drawing/2014/main" id="{6B0755D4-52DA-4A77-AF8E-383CE3352065}"/>
                  </a:ext>
                </a:extLst>
              </p:cNvPr>
              <p:cNvSpPr/>
              <p:nvPr/>
            </p:nvSpPr>
            <p:spPr>
              <a:xfrm>
                <a:off x="7521084" y="3109714"/>
                <a:ext cx="1046048" cy="1047556"/>
              </a:xfrm>
              <a:prstGeom prst="ellipse">
                <a:avLst/>
              </a:prstGeom>
              <a:solidFill>
                <a:srgbClr val="506B97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69" name="image61.png" descr="Image">
                <a:extLst>
                  <a:ext uri="{FF2B5EF4-FFF2-40B4-BE49-F238E27FC236}">
                    <a16:creationId xmlns:a16="http://schemas.microsoft.com/office/drawing/2014/main" id="{D1906541-7619-4747-A277-98786C8C0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90700" y="3358968"/>
                <a:ext cx="506815" cy="50800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6" name="Gruppo 55">
              <a:extLst>
                <a:ext uri="{FF2B5EF4-FFF2-40B4-BE49-F238E27FC236}">
                  <a16:creationId xmlns:a16="http://schemas.microsoft.com/office/drawing/2014/main" id="{92E71C69-1609-4A73-B18E-9F7A7EE80A18}"/>
                </a:ext>
              </a:extLst>
            </p:cNvPr>
            <p:cNvGrpSpPr/>
            <p:nvPr/>
          </p:nvGrpSpPr>
          <p:grpSpPr>
            <a:xfrm>
              <a:off x="5120716" y="3968744"/>
              <a:ext cx="599605" cy="636568"/>
              <a:chOff x="3896299" y="4480527"/>
              <a:chExt cx="1046048" cy="1047556"/>
            </a:xfrm>
          </p:grpSpPr>
          <p:sp>
            <p:nvSpPr>
              <p:cNvPr id="66" name="Shape 542" descr="Circle">
                <a:extLst>
                  <a:ext uri="{FF2B5EF4-FFF2-40B4-BE49-F238E27FC236}">
                    <a16:creationId xmlns:a16="http://schemas.microsoft.com/office/drawing/2014/main" id="{8C16A888-8FD2-45FF-87AE-EB3F4A9D5472}"/>
                  </a:ext>
                </a:extLst>
              </p:cNvPr>
              <p:cNvSpPr/>
              <p:nvPr/>
            </p:nvSpPr>
            <p:spPr>
              <a:xfrm>
                <a:off x="3896299" y="4480527"/>
                <a:ext cx="1046048" cy="1047556"/>
              </a:xfrm>
              <a:prstGeom prst="ellipse">
                <a:avLst/>
              </a:prstGeom>
              <a:solidFill>
                <a:srgbClr val="98C1DC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67" name="image62.png" descr="Image">
                <a:extLst>
                  <a:ext uri="{FF2B5EF4-FFF2-40B4-BE49-F238E27FC236}">
                    <a16:creationId xmlns:a16="http://schemas.microsoft.com/office/drawing/2014/main" id="{965CF227-E75F-498A-AF90-5F8015EF2B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57239" y="4710213"/>
                <a:ext cx="508353" cy="508085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7" name="Gruppo 56">
              <a:extLst>
                <a:ext uri="{FF2B5EF4-FFF2-40B4-BE49-F238E27FC236}">
                  <a16:creationId xmlns:a16="http://schemas.microsoft.com/office/drawing/2014/main" id="{BB688281-FE03-45D6-AD75-02DB2A4D90EA}"/>
                </a:ext>
              </a:extLst>
            </p:cNvPr>
            <p:cNvGrpSpPr/>
            <p:nvPr/>
          </p:nvGrpSpPr>
          <p:grpSpPr>
            <a:xfrm>
              <a:off x="6674690" y="3951292"/>
              <a:ext cx="599605" cy="636568"/>
              <a:chOff x="7188505" y="4467992"/>
              <a:chExt cx="1046048" cy="1047556"/>
            </a:xfrm>
          </p:grpSpPr>
          <p:sp>
            <p:nvSpPr>
              <p:cNvPr id="64" name="Shape 541" descr="Circle">
                <a:extLst>
                  <a:ext uri="{FF2B5EF4-FFF2-40B4-BE49-F238E27FC236}">
                    <a16:creationId xmlns:a16="http://schemas.microsoft.com/office/drawing/2014/main" id="{146542BF-CFF1-46E7-8B58-E10AA4C42B7C}"/>
                  </a:ext>
                </a:extLst>
              </p:cNvPr>
              <p:cNvSpPr/>
              <p:nvPr/>
            </p:nvSpPr>
            <p:spPr>
              <a:xfrm>
                <a:off x="7188505" y="4467992"/>
                <a:ext cx="1046048" cy="1047556"/>
              </a:xfrm>
              <a:prstGeom prst="ellipse">
                <a:avLst/>
              </a:prstGeom>
              <a:solidFill>
                <a:srgbClr val="8A9CBA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65" name="image63.png" descr="Image">
                <a:extLst>
                  <a:ext uri="{FF2B5EF4-FFF2-40B4-BE49-F238E27FC236}">
                    <a16:creationId xmlns:a16="http://schemas.microsoft.com/office/drawing/2014/main" id="{4F998C7B-6ED8-4132-B710-202E8FCF13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86119" y="4761244"/>
                <a:ext cx="663521" cy="50800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sp>
          <p:nvSpPr>
            <p:cNvPr id="58" name="Shape 554" descr="Biotech, Pharma Healthcare equipment">
              <a:extLst>
                <a:ext uri="{FF2B5EF4-FFF2-40B4-BE49-F238E27FC236}">
                  <a16:creationId xmlns:a16="http://schemas.microsoft.com/office/drawing/2014/main" id="{D46F62B3-C4E3-48E9-BA82-8BEE0297BB14}"/>
                </a:ext>
              </a:extLst>
            </p:cNvPr>
            <p:cNvSpPr/>
            <p:nvPr/>
          </p:nvSpPr>
          <p:spPr>
            <a:xfrm>
              <a:off x="5510060" y="5003835"/>
              <a:ext cx="1524486" cy="45078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algn="l" defTabSz="1219200">
                <a:spcBef>
                  <a:spcPts val="200"/>
                </a:spcBef>
                <a:defRPr sz="3200"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pPr algn="ctr"/>
              <a:r>
                <a:rPr lang="it-IT" sz="1000">
                  <a:latin typeface="Century Gothic" panose="020B0502020202020204" pitchFamily="34" charset="0"/>
                </a:rPr>
                <a:t>Technology, Media &amp; Telecommunication</a:t>
              </a:r>
              <a:endParaRPr sz="1000">
                <a:latin typeface="Century Gothic" panose="020B0502020202020204" pitchFamily="34" charset="0"/>
              </a:endParaRPr>
            </a:p>
          </p:txBody>
        </p:sp>
        <p:grpSp>
          <p:nvGrpSpPr>
            <p:cNvPr id="59" name="Gruppo 58">
              <a:extLst>
                <a:ext uri="{FF2B5EF4-FFF2-40B4-BE49-F238E27FC236}">
                  <a16:creationId xmlns:a16="http://schemas.microsoft.com/office/drawing/2014/main" id="{016E3710-8F1A-4AF5-A0E2-C8CA328C1E5A}"/>
                </a:ext>
              </a:extLst>
            </p:cNvPr>
            <p:cNvGrpSpPr/>
            <p:nvPr/>
          </p:nvGrpSpPr>
          <p:grpSpPr>
            <a:xfrm>
              <a:off x="5897703" y="4380365"/>
              <a:ext cx="599605" cy="636568"/>
              <a:chOff x="5572976" y="5281764"/>
              <a:chExt cx="1046048" cy="1047556"/>
            </a:xfrm>
          </p:grpSpPr>
          <p:sp>
            <p:nvSpPr>
              <p:cNvPr id="62" name="Shape 546" descr="Circle">
                <a:extLst>
                  <a:ext uri="{FF2B5EF4-FFF2-40B4-BE49-F238E27FC236}">
                    <a16:creationId xmlns:a16="http://schemas.microsoft.com/office/drawing/2014/main" id="{FA038CB4-7876-4AE6-9DE9-2C8D9CB10791}"/>
                  </a:ext>
                </a:extLst>
              </p:cNvPr>
              <p:cNvSpPr/>
              <p:nvPr/>
            </p:nvSpPr>
            <p:spPr>
              <a:xfrm>
                <a:off x="5572976" y="5281764"/>
                <a:ext cx="1046048" cy="1047556"/>
              </a:xfrm>
              <a:prstGeom prst="ellipse">
                <a:avLst/>
              </a:prstGeom>
              <a:solidFill>
                <a:srgbClr val="8699C5"/>
              </a:solidFill>
              <a:ln w="12700">
                <a:miter lim="400000"/>
              </a:ln>
            </p:spPr>
            <p:txBody>
              <a:bodyPr lIns="25400" tIns="25400" rIns="25400" bIns="25400" anchor="ctr"/>
              <a:lstStyle/>
              <a:p>
                <a:pPr>
                  <a:defRPr sz="3200"/>
                </a:pPr>
                <a:endParaRPr sz="1600">
                  <a:latin typeface="Arial Nova Cond" panose="020B0506020202020204" pitchFamily="34" charset="0"/>
                </a:endParaRPr>
              </a:p>
            </p:txBody>
          </p:sp>
          <p:pic>
            <p:nvPicPr>
              <p:cNvPr id="63" name="Immagine 62">
                <a:extLst>
                  <a:ext uri="{FF2B5EF4-FFF2-40B4-BE49-F238E27FC236}">
                    <a16:creationId xmlns:a16="http://schemas.microsoft.com/office/drawing/2014/main" id="{76B795D9-0882-4A9B-AF6B-E1383504D9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917688" y="5513835"/>
                <a:ext cx="483112" cy="535624"/>
              </a:xfrm>
              <a:prstGeom prst="rect">
                <a:avLst/>
              </a:prstGeom>
            </p:spPr>
          </p:pic>
        </p:grpSp>
        <p:pic>
          <p:nvPicPr>
            <p:cNvPr id="60" name="Elemento grafico 59" descr="Centrale elettrica contorno">
              <a:extLst>
                <a:ext uri="{FF2B5EF4-FFF2-40B4-BE49-F238E27FC236}">
                  <a16:creationId xmlns:a16="http://schemas.microsoft.com/office/drawing/2014/main" id="{D4BFAF9A-C7C6-4D08-9DC0-581622729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24455" y="2396382"/>
              <a:ext cx="360798" cy="382489"/>
            </a:xfrm>
            <a:prstGeom prst="rect">
              <a:avLst/>
            </a:prstGeom>
          </p:spPr>
        </p:pic>
        <p:pic>
          <p:nvPicPr>
            <p:cNvPr id="61" name="Elemento grafico 60" descr="Città contorno">
              <a:extLst>
                <a:ext uri="{FF2B5EF4-FFF2-40B4-BE49-F238E27FC236}">
                  <a16:creationId xmlns:a16="http://schemas.microsoft.com/office/drawing/2014/main" id="{13380BA9-30A9-43CA-BD59-236365815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04003" y="1973581"/>
              <a:ext cx="397416" cy="397416"/>
            </a:xfrm>
            <a:prstGeom prst="rect">
              <a:avLst/>
            </a:prstGeom>
          </p:spPr>
        </p:pic>
      </p:grp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A1F8ACB-024D-5BB8-E300-94040919C9FE}"/>
              </a:ext>
            </a:extLst>
          </p:cNvPr>
          <p:cNvSpPr txBox="1"/>
          <p:nvPr/>
        </p:nvSpPr>
        <p:spPr>
          <a:xfrm>
            <a:off x="6119513" y="1316926"/>
            <a:ext cx="5457441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ALISI DEI TREND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apporti realizzati in formato </a:t>
            </a:r>
            <a:r>
              <a:rPr kumimoji="0" lang="it-IT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hitepaper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(70/140 pagine) che contengono analisi dei fenomeni, grafici e infografiche di supporto. </a:t>
            </a:r>
            <a:b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b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</a:b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ll’interno di ciascun report, si analizzano:</a:t>
            </a:r>
          </a:p>
          <a:p>
            <a:pPr marL="285750" marR="0" lvl="0" indent="-28575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ati di mercato</a:t>
            </a:r>
          </a:p>
          <a:p>
            <a:pPr marL="285750" marR="0" lvl="0" indent="-28575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recast</a:t>
            </a:r>
          </a:p>
          <a:p>
            <a:pPr marL="285750" marR="0" lvl="0" indent="-28575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ecnologie emergenti</a:t>
            </a:r>
          </a:p>
          <a:p>
            <a:pPr marL="285750" marR="0" lvl="0" indent="-28575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ey Player</a:t>
            </a:r>
          </a:p>
          <a:p>
            <a:pPr marL="285750" marR="0" lvl="0" indent="-285750" algn="l" defTabSz="1218095" rtl="0" eaLnBrk="1" fontAlgn="base" latinLnBrk="0" hangingPunct="1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rt-up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5" name="Connettore 1 4">
            <a:extLst>
              <a:ext uri="{FF2B5EF4-FFF2-40B4-BE49-F238E27FC236}">
                <a16:creationId xmlns:a16="http://schemas.microsoft.com/office/drawing/2014/main" id="{0062A52C-17ED-7B05-9E17-B24AF8EF5346}"/>
              </a:ext>
            </a:extLst>
          </p:cNvPr>
          <p:cNvCxnSpPr>
            <a:cxnSpLocks/>
          </p:cNvCxnSpPr>
          <p:nvPr/>
        </p:nvCxnSpPr>
        <p:spPr>
          <a:xfrm>
            <a:off x="5834743" y="1313492"/>
            <a:ext cx="0" cy="5213608"/>
          </a:xfrm>
          <a:prstGeom prst="line">
            <a:avLst/>
          </a:prstGeom>
          <a:ln w="6350">
            <a:solidFill>
              <a:srgbClr val="406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90454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egnaposto testo 14">
            <a:extLst>
              <a:ext uri="{FF2B5EF4-FFF2-40B4-BE49-F238E27FC236}">
                <a16:creationId xmlns:a16="http://schemas.microsoft.com/office/drawing/2014/main" id="{5624BD09-272F-4A2D-8A2B-73975FE812CA}"/>
              </a:ext>
            </a:extLst>
          </p:cNvPr>
          <p:cNvSpPr txBox="1">
            <a:spLocks/>
          </p:cNvSpPr>
          <p:nvPr/>
        </p:nvSpPr>
        <p:spPr>
          <a:xfrm>
            <a:off x="531366" y="1345511"/>
            <a:ext cx="9275594" cy="797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anchor="ctr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2958" marR="5183" defTabSz="932962">
              <a:spcBef>
                <a:spcPts val="612"/>
              </a:spcBef>
              <a:buSzPct val="130000"/>
            </a:pPr>
            <a:r>
              <a:rPr lang="it-IT" sz="1632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Challenge for startup è </a:t>
            </a:r>
            <a:r>
              <a:rPr lang="it-IT" sz="1632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 programma di selezione e accelerazione </a:t>
            </a:r>
            <a:r>
              <a:rPr lang="it-IT" sz="1632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 si articola in </a:t>
            </a:r>
            <a:r>
              <a:rPr lang="it-IT" sz="1632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quattro fasi </a:t>
            </a:r>
            <a:r>
              <a:rPr lang="it-IT" sz="1632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d è finalizzato alla valorizzazione delle tecnologie più interessanti per il cliente, facilitando lo sviluppo di collaborazioni / sperimentazioni / investimenti.</a:t>
            </a:r>
          </a:p>
        </p:txBody>
      </p:sp>
      <p:cxnSp>
        <p:nvCxnSpPr>
          <p:cNvPr id="49" name="Straight Connector 70">
            <a:extLst>
              <a:ext uri="{FF2B5EF4-FFF2-40B4-BE49-F238E27FC236}">
                <a16:creationId xmlns:a16="http://schemas.microsoft.com/office/drawing/2014/main" id="{62CEB63B-3D1B-422E-AB2A-CE74A85E3C70}"/>
              </a:ext>
            </a:extLst>
          </p:cNvPr>
          <p:cNvCxnSpPr>
            <a:cxnSpLocks/>
          </p:cNvCxnSpPr>
          <p:nvPr/>
        </p:nvCxnSpPr>
        <p:spPr>
          <a:xfrm flipH="1">
            <a:off x="603780" y="4936098"/>
            <a:ext cx="1065562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leTrackerNum 6">
            <a:extLst>
              <a:ext uri="{FF2B5EF4-FFF2-40B4-BE49-F238E27FC236}">
                <a16:creationId xmlns:a16="http://schemas.microsoft.com/office/drawing/2014/main" id="{79A5F54E-A08F-4092-9136-E259E3F97C1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683814" y="4860834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1" name="Straight Connector 81">
            <a:extLst>
              <a:ext uri="{FF2B5EF4-FFF2-40B4-BE49-F238E27FC236}">
                <a16:creationId xmlns:a16="http://schemas.microsoft.com/office/drawing/2014/main" id="{7D87408A-B4A8-4737-A9DD-6F2D212E5926}"/>
              </a:ext>
            </a:extLst>
          </p:cNvPr>
          <p:cNvCxnSpPr>
            <a:cxnSpLocks/>
          </p:cNvCxnSpPr>
          <p:nvPr/>
        </p:nvCxnSpPr>
        <p:spPr>
          <a:xfrm flipH="1">
            <a:off x="1759079" y="4512160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TrackerNum 6">
            <a:extLst>
              <a:ext uri="{FF2B5EF4-FFF2-40B4-BE49-F238E27FC236}">
                <a16:creationId xmlns:a16="http://schemas.microsoft.com/office/drawing/2014/main" id="{79A5F54E-A08F-4092-9136-E259E3F97C1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391403" y="4860834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4" name="Straight Connector 81">
            <a:extLst>
              <a:ext uri="{FF2B5EF4-FFF2-40B4-BE49-F238E27FC236}">
                <a16:creationId xmlns:a16="http://schemas.microsoft.com/office/drawing/2014/main" id="{7D87408A-B4A8-4737-A9DD-6F2D212E5926}"/>
              </a:ext>
            </a:extLst>
          </p:cNvPr>
          <p:cNvCxnSpPr>
            <a:cxnSpLocks/>
          </p:cNvCxnSpPr>
          <p:nvPr/>
        </p:nvCxnSpPr>
        <p:spPr>
          <a:xfrm flipH="1">
            <a:off x="4466668" y="4512160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TrackerNum 6">
            <a:extLst>
              <a:ext uri="{FF2B5EF4-FFF2-40B4-BE49-F238E27FC236}">
                <a16:creationId xmlns:a16="http://schemas.microsoft.com/office/drawing/2014/main" id="{79A5F54E-A08F-4092-9136-E259E3F97C18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7063096" y="4864617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7" name="Straight Connector 81">
            <a:extLst>
              <a:ext uri="{FF2B5EF4-FFF2-40B4-BE49-F238E27FC236}">
                <a16:creationId xmlns:a16="http://schemas.microsoft.com/office/drawing/2014/main" id="{7D87408A-B4A8-4737-A9DD-6F2D212E5926}"/>
              </a:ext>
            </a:extLst>
          </p:cNvPr>
          <p:cNvCxnSpPr>
            <a:cxnSpLocks/>
          </p:cNvCxnSpPr>
          <p:nvPr/>
        </p:nvCxnSpPr>
        <p:spPr>
          <a:xfrm flipH="1">
            <a:off x="7138361" y="4515943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TrackerNum 6">
            <a:extLst>
              <a:ext uri="{FF2B5EF4-FFF2-40B4-BE49-F238E27FC236}">
                <a16:creationId xmlns:a16="http://schemas.microsoft.com/office/drawing/2014/main" id="{79A5F54E-A08F-4092-9136-E259E3F97C1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9656431" y="4851169"/>
            <a:ext cx="150529" cy="150529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0" name="Straight Connector 81">
            <a:extLst>
              <a:ext uri="{FF2B5EF4-FFF2-40B4-BE49-F238E27FC236}">
                <a16:creationId xmlns:a16="http://schemas.microsoft.com/office/drawing/2014/main" id="{7D87408A-B4A8-4737-A9DD-6F2D212E5926}"/>
              </a:ext>
            </a:extLst>
          </p:cNvPr>
          <p:cNvCxnSpPr>
            <a:cxnSpLocks/>
          </p:cNvCxnSpPr>
          <p:nvPr/>
        </p:nvCxnSpPr>
        <p:spPr>
          <a:xfrm flipH="1">
            <a:off x="9731696" y="4502494"/>
            <a:ext cx="1" cy="3127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">
            <a:extLst>
              <a:ext uri="{FF2B5EF4-FFF2-40B4-BE49-F238E27FC236}">
                <a16:creationId xmlns:a16="http://schemas.microsoft.com/office/drawing/2014/main" id="{849018FE-0AF7-4517-BE9C-9525193DBC4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83814" y="3524969"/>
            <a:ext cx="2309248" cy="755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0960" tIns="0" rIns="60960" bIns="0" anchor="ctr"/>
          <a:lstStyle/>
          <a:p>
            <a:pPr defTabSz="1193703">
              <a:lnSpc>
                <a:spcPts val="1600"/>
              </a:lnSpc>
              <a:buClr>
                <a:srgbClr val="3E3D2D"/>
              </a:buClr>
              <a:defRPr/>
            </a:pPr>
            <a:r>
              <a:rPr lang="en-US" sz="1632" b="1" kern="0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Scouting: </a:t>
            </a:r>
          </a:p>
          <a:p>
            <a:pPr defTabSz="1193703">
              <a:lnSpc>
                <a:spcPts val="1600"/>
              </a:lnSpc>
              <a:buClr>
                <a:srgbClr val="3E3D2D"/>
              </a:buClr>
              <a:defRPr/>
            </a:pPr>
            <a:r>
              <a:rPr lang="en-US" sz="1632" kern="0">
                <a:solidFill>
                  <a:srgbClr val="00000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Business ideas/plans analysis and first selection</a:t>
            </a:r>
          </a:p>
        </p:txBody>
      </p:sp>
      <p:sp>
        <p:nvSpPr>
          <p:cNvPr id="63" name="Rectangle 12">
            <a:extLst>
              <a:ext uri="{FF2B5EF4-FFF2-40B4-BE49-F238E27FC236}">
                <a16:creationId xmlns:a16="http://schemas.microsoft.com/office/drawing/2014/main" id="{06448BBC-ED17-4582-8E82-B8C510AB2F1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407102" y="3524969"/>
            <a:ext cx="2311366" cy="75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0960" tIns="0" rIns="60960" bIns="0" anchor="ctr"/>
          <a:lstStyle/>
          <a:p>
            <a:pPr defTabSz="1193703">
              <a:lnSpc>
                <a:spcPts val="1600"/>
              </a:lnSpc>
              <a:buClr>
                <a:srgbClr val="3E3D2D"/>
              </a:buClr>
              <a:defRPr/>
            </a:pPr>
            <a:r>
              <a:rPr lang="en-US" sz="1632" b="1" kern="0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Coaching: </a:t>
            </a:r>
            <a:br>
              <a:rPr lang="en-US" sz="1632" b="1" kern="0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</a:br>
            <a:r>
              <a:rPr lang="en-US" sz="1632" kern="0">
                <a:solidFill>
                  <a:srgbClr val="00000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fine-tuning of startups business plan and presentation</a:t>
            </a:r>
          </a:p>
        </p:txBody>
      </p:sp>
      <p:sp>
        <p:nvSpPr>
          <p:cNvPr id="64" name="Rectangle 9">
            <a:extLst>
              <a:ext uri="{FF2B5EF4-FFF2-40B4-BE49-F238E27FC236}">
                <a16:creationId xmlns:a16="http://schemas.microsoft.com/office/drawing/2014/main" id="{170A5754-C67A-45E0-80B5-A2965160060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38361" y="3524969"/>
            <a:ext cx="1758924" cy="75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0960" tIns="0" rIns="60960" bIns="0" anchor="ctr"/>
          <a:lstStyle/>
          <a:p>
            <a:pPr defTabSz="1193703">
              <a:lnSpc>
                <a:spcPts val="1600"/>
              </a:lnSpc>
              <a:buClr>
                <a:srgbClr val="3E3D2D"/>
              </a:buClr>
              <a:defRPr/>
            </a:pPr>
            <a:r>
              <a:rPr lang="en-US" sz="1632" b="1" kern="0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Selection:</a:t>
            </a:r>
            <a:br>
              <a:rPr lang="en-US" sz="1632" b="1" kern="0">
                <a:solidFill>
                  <a:srgbClr val="406B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</a:br>
            <a:r>
              <a:rPr lang="en-US" sz="1632" kern="0">
                <a:solidFill>
                  <a:srgbClr val="00000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  <a:sym typeface="Helvetica Light"/>
              </a:rPr>
              <a:t>startups more ready to meet investors</a:t>
            </a:r>
          </a:p>
        </p:txBody>
      </p:sp>
      <p:sp>
        <p:nvSpPr>
          <p:cNvPr id="65" name="Rectangle 15">
            <a:extLst>
              <a:ext uri="{FF2B5EF4-FFF2-40B4-BE49-F238E27FC236}">
                <a16:creationId xmlns:a16="http://schemas.microsoft.com/office/drawing/2014/main" id="{064363A7-1D6C-445E-B9FC-CC39FD6E483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656431" y="3437259"/>
            <a:ext cx="1727175" cy="755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0960" tIns="0" rIns="60960" bIns="0" anchor="ctr"/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1193703" eaLnBrk="0">
              <a:lnSpc>
                <a:spcPts val="1600"/>
              </a:lnSpc>
              <a:buClr>
                <a:srgbClr val="3E3D2D"/>
              </a:buClr>
              <a:defRPr/>
            </a:pPr>
            <a:r>
              <a:rPr lang="en-US" altLang="it-IT" sz="1632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Helvetica Light"/>
              </a:rPr>
              <a:t>Investor Arena: </a:t>
            </a:r>
            <a:br>
              <a:rPr lang="en-US" altLang="it-IT" sz="1632" b="1">
                <a:solidFill>
                  <a:srgbClr val="406B9B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altLang="it-IT" sz="1632" ker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Helvetica Light"/>
              </a:rPr>
              <a:t>startup pitch to investors</a:t>
            </a:r>
          </a:p>
        </p:txBody>
      </p:sp>
      <p:sp>
        <p:nvSpPr>
          <p:cNvPr id="66" name="CasellaDiTesto 65">
            <a:extLst>
              <a:ext uri="{FF2B5EF4-FFF2-40B4-BE49-F238E27FC236}">
                <a16:creationId xmlns:a16="http://schemas.microsoft.com/office/drawing/2014/main" id="{320F3BFF-FDB8-4392-8AF9-54681BAC0265}"/>
              </a:ext>
            </a:extLst>
          </p:cNvPr>
          <p:cNvSpPr txBox="1"/>
          <p:nvPr/>
        </p:nvSpPr>
        <p:spPr>
          <a:xfrm>
            <a:off x="4391403" y="3050034"/>
            <a:ext cx="971536" cy="2773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Mese #3</a:t>
            </a:r>
            <a:endParaRPr lang="it-IT" sz="1200">
              <a:solidFill>
                <a:prstClr val="black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A74FBDAD-4117-49E6-B144-ACAC08052889}"/>
              </a:ext>
            </a:extLst>
          </p:cNvPr>
          <p:cNvSpPr txBox="1"/>
          <p:nvPr/>
        </p:nvSpPr>
        <p:spPr>
          <a:xfrm>
            <a:off x="7117359" y="3033561"/>
            <a:ext cx="971536" cy="2773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Mese #4</a:t>
            </a:r>
            <a:endParaRPr lang="it-IT" sz="1200">
              <a:solidFill>
                <a:prstClr val="black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68" name="CasellaDiTesto 67">
            <a:extLst>
              <a:ext uri="{FF2B5EF4-FFF2-40B4-BE49-F238E27FC236}">
                <a16:creationId xmlns:a16="http://schemas.microsoft.com/office/drawing/2014/main" id="{D9E31534-C632-47B7-9315-788A498D248D}"/>
              </a:ext>
            </a:extLst>
          </p:cNvPr>
          <p:cNvSpPr txBox="1"/>
          <p:nvPr/>
        </p:nvSpPr>
        <p:spPr>
          <a:xfrm>
            <a:off x="9656431" y="3064223"/>
            <a:ext cx="971536" cy="2773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Mese #4  </a:t>
            </a:r>
            <a:endParaRPr lang="it-IT" sz="1200">
              <a:solidFill>
                <a:prstClr val="black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9B3B11B8-EB2E-4B76-9704-8E333A192A26}"/>
              </a:ext>
            </a:extLst>
          </p:cNvPr>
          <p:cNvSpPr txBox="1"/>
          <p:nvPr/>
        </p:nvSpPr>
        <p:spPr>
          <a:xfrm>
            <a:off x="1672486" y="3050035"/>
            <a:ext cx="971536" cy="2773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Mese #1</a:t>
            </a:r>
          </a:p>
        </p:txBody>
      </p:sp>
      <p:pic>
        <p:nvPicPr>
          <p:cNvPr id="84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2926" y="530637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489" y="530637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1625" y="530637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2926" y="583364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489" y="583364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1625" y="5833641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tangolo 4"/>
          <p:cNvSpPr/>
          <p:nvPr/>
        </p:nvSpPr>
        <p:spPr>
          <a:xfrm>
            <a:off x="449558" y="5320698"/>
            <a:ext cx="919791" cy="826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1428">
                <a:solidFill>
                  <a:srgbClr val="406B9B"/>
                </a:solidFill>
                <a:latin typeface="Century Gothic" panose="020B0502020202020204" pitchFamily="34" charset="0"/>
                <a:sym typeface="Helvetica Light"/>
              </a:rPr>
              <a:t>Numero medio di startup</a:t>
            </a:r>
          </a:p>
        </p:txBody>
      </p:sp>
      <p:sp>
        <p:nvSpPr>
          <p:cNvPr id="92" name="Rettangolo 91"/>
          <p:cNvSpPr/>
          <p:nvPr/>
        </p:nvSpPr>
        <p:spPr>
          <a:xfrm>
            <a:off x="449558" y="2981614"/>
            <a:ext cx="993274" cy="460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1428">
                <a:solidFill>
                  <a:srgbClr val="406B9B"/>
                </a:solidFill>
                <a:latin typeface="Century Gothic" panose="020B0502020202020204" pitchFamily="34" charset="0"/>
                <a:sym typeface="Helvetica Light"/>
              </a:rPr>
              <a:t>Tempi</a:t>
            </a:r>
          </a:p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1428">
                <a:solidFill>
                  <a:srgbClr val="406B9B"/>
                </a:solidFill>
                <a:latin typeface="Century Gothic" panose="020B0502020202020204" pitchFamily="34" charset="0"/>
                <a:sym typeface="Helvetica Light"/>
              </a:rPr>
              <a:t>proposti</a:t>
            </a:r>
          </a:p>
        </p:txBody>
      </p:sp>
      <p:sp>
        <p:nvSpPr>
          <p:cNvPr id="93" name="Rettangolo 92"/>
          <p:cNvSpPr/>
          <p:nvPr/>
        </p:nvSpPr>
        <p:spPr>
          <a:xfrm>
            <a:off x="449558" y="3475315"/>
            <a:ext cx="799167" cy="277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1428">
                <a:solidFill>
                  <a:srgbClr val="406B9B"/>
                </a:solidFill>
                <a:latin typeface="Century Gothic" panose="020B0502020202020204" pitchFamily="34" charset="0"/>
                <a:sym typeface="Helvetica Light"/>
              </a:rPr>
              <a:t>Fasi</a:t>
            </a:r>
          </a:p>
        </p:txBody>
      </p:sp>
      <p:sp>
        <p:nvSpPr>
          <p:cNvPr id="6" name="Rettangolo 5"/>
          <p:cNvSpPr/>
          <p:nvPr/>
        </p:nvSpPr>
        <p:spPr>
          <a:xfrm>
            <a:off x="3086133" y="5312852"/>
            <a:ext cx="549877" cy="2773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~60</a:t>
            </a:r>
            <a:endParaRPr lang="it-IT" sz="1632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94" name="Rettangolo 93"/>
          <p:cNvSpPr/>
          <p:nvPr/>
        </p:nvSpPr>
        <p:spPr>
          <a:xfrm>
            <a:off x="5396782" y="5312852"/>
            <a:ext cx="549877" cy="2773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~20</a:t>
            </a:r>
            <a:endParaRPr lang="it-IT" sz="1632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95" name="Rettangolo 94"/>
          <p:cNvSpPr/>
          <p:nvPr/>
        </p:nvSpPr>
        <p:spPr>
          <a:xfrm>
            <a:off x="8015896" y="5312852"/>
            <a:ext cx="549877" cy="2773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~20</a:t>
            </a:r>
            <a:endParaRPr lang="it-IT" sz="1632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sp>
        <p:nvSpPr>
          <p:cNvPr id="96" name="Rettangolo 95"/>
          <p:cNvSpPr/>
          <p:nvPr/>
        </p:nvSpPr>
        <p:spPr>
          <a:xfrm>
            <a:off x="10170884" y="5312852"/>
            <a:ext cx="549877" cy="2773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14" eaLnBrk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itchFamily="34" charset="0"/>
                <a:sym typeface="Helvetica Light"/>
              </a:rPr>
              <a:t>~10</a:t>
            </a:r>
            <a:endParaRPr lang="it-IT" sz="1632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itchFamily="34" charset="0"/>
              <a:sym typeface="Helvetica Light"/>
            </a:endParaRPr>
          </a:p>
        </p:txBody>
      </p:sp>
      <p:pic>
        <p:nvPicPr>
          <p:cNvPr id="97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9306" y="5277532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6869" y="5277532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3625" y="5295413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1188" y="5295413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https://static.thenounproject.com/png/1087690-200.png">
            <a:extLst>
              <a:ext uri="{FF2B5EF4-FFF2-40B4-BE49-F238E27FC236}">
                <a16:creationId xmlns:a16="http://schemas.microsoft.com/office/drawing/2014/main" id="{F7F08E1D-420B-48BB-BCFD-1C0C39DBE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421" y="5245695"/>
            <a:ext cx="313998" cy="31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49558" y="366714"/>
            <a:ext cx="10363047" cy="408237"/>
          </a:xfrm>
        </p:spPr>
        <p:txBody>
          <a:bodyPr/>
          <a:lstStyle/>
          <a:p>
            <a:r>
              <a:rPr lang="it-IT">
                <a:cs typeface="Arial" panose="020B0604020202020204" pitchFamily="34" charset="0"/>
              </a:rPr>
              <a:t> Percorsi di accelerazione: Startup </a:t>
            </a:r>
            <a:r>
              <a:rPr lang="it-IT" err="1">
                <a:cs typeface="Arial" panose="020B0604020202020204" pitchFamily="34" charset="0"/>
              </a:rPr>
              <a:t>Initiative</a:t>
            </a:r>
            <a:r>
              <a:rPr lang="it-IT">
                <a:cs typeface="Arial" panose="020B0604020202020204" pitchFamily="34" charset="0"/>
              </a:rPr>
              <a:t> in </a:t>
            </a:r>
            <a:r>
              <a:rPr lang="it-IT" err="1">
                <a:cs typeface="Arial" panose="020B0604020202020204" pitchFamily="34" charset="0"/>
              </a:rPr>
              <a:t>white</a:t>
            </a:r>
            <a:r>
              <a:rPr lang="it-IT">
                <a:cs typeface="Arial" panose="020B0604020202020204" pitchFamily="34" charset="0"/>
              </a:rPr>
              <a:t> </a:t>
            </a:r>
            <a:r>
              <a:rPr lang="it-IT" err="1">
                <a:cs typeface="Arial" panose="020B0604020202020204" pitchFamily="34" charset="0"/>
              </a:rPr>
              <a:t>label</a:t>
            </a:r>
            <a:r>
              <a:rPr lang="it-IT">
                <a:cs typeface="Arial" panose="020B0604020202020204" pitchFamily="34" charset="0"/>
              </a:rPr>
              <a:t> 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5676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 descr="La nostra mission"/>
          <p:cNvSpPr/>
          <p:nvPr/>
        </p:nvSpPr>
        <p:spPr>
          <a:xfrm>
            <a:off x="301932" y="98175"/>
            <a:ext cx="9614269" cy="4710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l" defTabSz="1219200">
              <a:defRPr sz="60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</a:lstStyle>
          <a:p>
            <a:pPr marL="0" marR="0" lvl="0" indent="0" algn="l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</a:rPr>
              <a:t>Obiettivi</a:t>
            </a:r>
          </a:p>
        </p:txBody>
      </p:sp>
      <p:sp>
        <p:nvSpPr>
          <p:cNvPr id="30" name="Titolo 1">
            <a:extLst>
              <a:ext uri="{FF2B5EF4-FFF2-40B4-BE49-F238E27FC236}">
                <a16:creationId xmlns:a16="http://schemas.microsoft.com/office/drawing/2014/main" id="{A1C3E682-D26F-3B41-B475-5F74F816E653}"/>
              </a:ext>
            </a:extLst>
          </p:cNvPr>
          <p:cNvSpPr txBox="1">
            <a:spLocks/>
          </p:cNvSpPr>
          <p:nvPr/>
        </p:nvSpPr>
        <p:spPr>
          <a:xfrm>
            <a:off x="544067" y="374651"/>
            <a:ext cx="10363047" cy="545042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398" b="1" kern="1200">
                <a:solidFill>
                  <a:srgbClr val="003A79"/>
                </a:solidFill>
                <a:latin typeface="Century Gothic" pitchFamily="34" charset="0"/>
                <a:ea typeface="+mj-ea"/>
                <a:cs typeface="Arial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5pPr>
            <a:lvl6pPr marL="597469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6pPr>
            <a:lvl7pPr marL="1194938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7pPr>
            <a:lvl8pPr marL="1792407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8pPr>
            <a:lvl9pPr marL="2389876" algn="ctr" rtl="0" fontAlgn="base">
              <a:spcBef>
                <a:spcPct val="0"/>
              </a:spcBef>
              <a:spcAft>
                <a:spcPct val="0"/>
              </a:spcAft>
              <a:defRPr sz="575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3296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57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itchFamily="34" charset="0"/>
                <a:ea typeface="+mj-ea"/>
                <a:cs typeface="Arial"/>
              </a:rPr>
              <a:t>Obiettivi</a:t>
            </a:r>
          </a:p>
        </p:txBody>
      </p:sp>
      <p:sp>
        <p:nvSpPr>
          <p:cNvPr id="32" name="Shape 212" descr="Circle">
            <a:extLst>
              <a:ext uri="{FF2B5EF4-FFF2-40B4-BE49-F238E27FC236}">
                <a16:creationId xmlns:a16="http://schemas.microsoft.com/office/drawing/2014/main" id="{88C99712-116E-974E-8734-7FA1C2AA7F9F}"/>
              </a:ext>
            </a:extLst>
          </p:cNvPr>
          <p:cNvSpPr/>
          <p:nvPr/>
        </p:nvSpPr>
        <p:spPr>
          <a:xfrm>
            <a:off x="4139836" y="1640195"/>
            <a:ext cx="3784722" cy="3790174"/>
          </a:xfrm>
          <a:prstGeom prst="ellipse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3" name="Oval 49">
            <a:extLst>
              <a:ext uri="{FF2B5EF4-FFF2-40B4-BE49-F238E27FC236}">
                <a16:creationId xmlns:a16="http://schemas.microsoft.com/office/drawing/2014/main" id="{DB4A16BD-A762-6F40-91A5-83A42463E35C}"/>
              </a:ext>
            </a:extLst>
          </p:cNvPr>
          <p:cNvSpPr>
            <a:spLocks noChangeAspect="1"/>
          </p:cNvSpPr>
          <p:nvPr/>
        </p:nvSpPr>
        <p:spPr bwMode="gray">
          <a:xfrm>
            <a:off x="3997299" y="1503317"/>
            <a:ext cx="4056477" cy="4056477"/>
          </a:xfrm>
          <a:prstGeom prst="ellipse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2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2CBD3D04-FD22-8E4D-9C7E-33AB080D0D59}"/>
              </a:ext>
            </a:extLst>
          </p:cNvPr>
          <p:cNvGrpSpPr/>
          <p:nvPr/>
        </p:nvGrpSpPr>
        <p:grpSpPr>
          <a:xfrm>
            <a:off x="408215" y="2889308"/>
            <a:ext cx="4184594" cy="1631214"/>
            <a:chOff x="1045616" y="4447989"/>
            <a:chExt cx="4504532" cy="1598742"/>
          </a:xfrm>
        </p:grpSpPr>
        <p:sp>
          <p:nvSpPr>
            <p:cNvPr id="35" name="Shape 211" descr="Circle">
              <a:extLst>
                <a:ext uri="{FF2B5EF4-FFF2-40B4-BE49-F238E27FC236}">
                  <a16:creationId xmlns:a16="http://schemas.microsoft.com/office/drawing/2014/main" id="{CA0B4EF0-D69C-4E4B-A437-184D64355236}"/>
                </a:ext>
              </a:extLst>
            </p:cNvPr>
            <p:cNvSpPr/>
            <p:nvPr/>
          </p:nvSpPr>
          <p:spPr>
            <a:xfrm>
              <a:off x="4524939" y="4684157"/>
              <a:ext cx="1025209" cy="1026688"/>
            </a:xfrm>
            <a:prstGeom prst="ellipse">
              <a:avLst/>
            </a:prstGeom>
            <a:solidFill>
              <a:schemeClr val="accent4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40" name="image14.png">
              <a:extLst>
                <a:ext uri="{FF2B5EF4-FFF2-40B4-BE49-F238E27FC236}">
                  <a16:creationId xmlns:a16="http://schemas.microsoft.com/office/drawing/2014/main" id="{8793EED3-2255-B14C-B891-E1E6B9573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658327" y="4857825"/>
              <a:ext cx="717449" cy="717449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42" name="Shape 224" descr="Identificare le startup ad alto potenziale e accelerarne la crescita">
              <a:extLst>
                <a:ext uri="{FF2B5EF4-FFF2-40B4-BE49-F238E27FC236}">
                  <a16:creationId xmlns:a16="http://schemas.microsoft.com/office/drawing/2014/main" id="{42CFBB09-1649-3A42-BBA2-DAF36212625A}"/>
                </a:ext>
              </a:extLst>
            </p:cNvPr>
            <p:cNvSpPr/>
            <p:nvPr/>
          </p:nvSpPr>
          <p:spPr>
            <a:xfrm>
              <a:off x="1045616" y="4447989"/>
              <a:ext cx="3355383" cy="15987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60959" tIns="60959" rIns="60959" bIns="60959">
              <a:spAutoFit/>
            </a:bodyPr>
            <a:lstStyle>
              <a:lvl1pPr algn="r" defTabSz="1219200">
                <a:defRPr sz="3400">
                  <a:solidFill>
                    <a:srgbClr val="FFFFFF"/>
                  </a:solidFill>
                  <a:latin typeface="Open Sans Semibold"/>
                  <a:ea typeface="Open Sans Semibold"/>
                  <a:cs typeface="Open Sans Semibold"/>
                  <a:sym typeface="Open Sans Semibold"/>
                </a:defRPr>
              </a:lvl1pPr>
            </a:lstStyle>
            <a:p>
              <a:pPr marL="0" marR="0" lvl="0" indent="0" algn="r" defTabSz="12439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 Semibold"/>
                  <a:cs typeface="Open Sans Semibold"/>
                  <a:sym typeface="Open Sans Semibold"/>
                </a:rPr>
                <a:t>Valutare le </a:t>
              </a:r>
              <a:r>
                <a:rPr kumimoji="0" sz="1600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 Semibold"/>
                  <a:cs typeface="Open Sans Semibold"/>
                  <a:sym typeface="Open Sans Semibold"/>
                </a:rPr>
                <a:t>startup </a:t>
              </a:r>
              <a:b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 Semibold"/>
                  <a:cs typeface="Open Sans Semibold"/>
                  <a:sym typeface="Open Sans Semibold"/>
                </a:rPr>
              </a:b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 Semibold"/>
                  <a:cs typeface="Open Sans Semibold"/>
                  <a:sym typeface="Open Sans Semibold"/>
                </a:rPr>
                <a:t>e supportare quelle ad alto potenziale, anche in connessione con fondi di venture capital e grazie alla controllata </a:t>
              </a: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406B9B"/>
                  </a:solidFill>
                  <a:effectLst/>
                  <a:uLnTx/>
                  <a:uFillTx/>
                  <a:latin typeface="Century Gothic"/>
                  <a:ea typeface="Open Sans Semibold"/>
                  <a:cs typeface="Open Sans Semibold"/>
                  <a:sym typeface="Open Sans Semibold"/>
                </a:rPr>
                <a:t>NEVA SGR</a:t>
              </a:r>
              <a:endParaRPr kumimoji="0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Open Sans Semibold"/>
                <a:cs typeface="Open Sans Semibold"/>
                <a:sym typeface="Open Sans Semibold"/>
              </a:endParaRPr>
            </a:p>
          </p:txBody>
        </p:sp>
      </p:grpSp>
      <p:pic>
        <p:nvPicPr>
          <p:cNvPr id="46" name="image3.png">
            <a:extLst>
              <a:ext uri="{FF2B5EF4-FFF2-40B4-BE49-F238E27FC236}">
                <a16:creationId xmlns:a16="http://schemas.microsoft.com/office/drawing/2014/main" id="{67C9DE8D-EE9A-F64A-8453-21272824CE9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519" y="3348758"/>
            <a:ext cx="2669077" cy="389549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Shape 215" descr="Circle">
            <a:extLst>
              <a:ext uri="{FF2B5EF4-FFF2-40B4-BE49-F238E27FC236}">
                <a16:creationId xmlns:a16="http://schemas.microsoft.com/office/drawing/2014/main" id="{0FE2CF82-C013-8848-8F04-D024E16AB2EA}"/>
              </a:ext>
            </a:extLst>
          </p:cNvPr>
          <p:cNvSpPr/>
          <p:nvPr/>
        </p:nvSpPr>
        <p:spPr>
          <a:xfrm>
            <a:off x="6542364" y="1331482"/>
            <a:ext cx="1046033" cy="1047543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1" name="Shape 222" descr="Accelerare la trasformazione del sistema manifatturiero italiano verso Industria 4.0">
            <a:extLst>
              <a:ext uri="{FF2B5EF4-FFF2-40B4-BE49-F238E27FC236}">
                <a16:creationId xmlns:a16="http://schemas.microsoft.com/office/drawing/2014/main" id="{EDBAFA96-77C2-F84D-8F0E-B6988052C783}"/>
              </a:ext>
            </a:extLst>
          </p:cNvPr>
          <p:cNvSpPr/>
          <p:nvPr/>
        </p:nvSpPr>
        <p:spPr>
          <a:xfrm>
            <a:off x="7787102" y="1262177"/>
            <a:ext cx="4029612" cy="1107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tIns="60959" rIns="60959" bIns="60959" anchor="t">
            <a:spAutoFit/>
          </a:bodyPr>
          <a:lstStyle>
            <a:lvl1pPr algn="r" defTabSz="1219200">
              <a:defRPr sz="3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</a:lstStyle>
          <a:p>
            <a:pPr marL="0" marR="0" lvl="0" indent="0" algn="l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Accelerar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 la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business transformation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e supportare lo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sviluppo di lungo termin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delle corporate attraverso programmi di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Open Innovation</a:t>
            </a:r>
          </a:p>
        </p:txBody>
      </p:sp>
      <p:pic>
        <p:nvPicPr>
          <p:cNvPr id="48" name="image10.png" descr="image13.png">
            <a:extLst>
              <a:ext uri="{FF2B5EF4-FFF2-40B4-BE49-F238E27FC236}">
                <a16:creationId xmlns:a16="http://schemas.microsoft.com/office/drawing/2014/main" id="{6B3803EA-C022-9B46-9BDA-3F9426C71D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7142" y="1575608"/>
            <a:ext cx="532174" cy="532175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hape 225" descr="Sostenere la transizione dell’ecosistema produttivo verso la Circular Economy">
            <a:extLst>
              <a:ext uri="{FF2B5EF4-FFF2-40B4-BE49-F238E27FC236}">
                <a16:creationId xmlns:a16="http://schemas.microsoft.com/office/drawing/2014/main" id="{BB3CAAE5-67EF-E648-89BE-2E548F2FF0D3}"/>
              </a:ext>
            </a:extLst>
          </p:cNvPr>
          <p:cNvSpPr/>
          <p:nvPr/>
        </p:nvSpPr>
        <p:spPr>
          <a:xfrm>
            <a:off x="301933" y="4901611"/>
            <a:ext cx="4036642" cy="1107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tIns="60959" rIns="60959" bIns="60959" anchor="t">
            <a:spAutoFit/>
          </a:bodyPr>
          <a:lstStyle>
            <a:lvl1pPr algn="l" defTabSz="1219200">
              <a:defRPr sz="3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</a:lstStyle>
          <a:p>
            <a:pPr marL="0" marR="0" lvl="0" indent="0" algn="r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554937" algn="l"/>
              </a:tabLst>
              <a:defRPr/>
            </a:pPr>
            <a:r>
              <a:rPr lang="it-IT" sz="1600">
                <a:solidFill>
                  <a:srgbClr val="000000"/>
                </a:solidFill>
                <a:latin typeface="Century Gothic"/>
              </a:rPr>
              <a:t>Su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pportare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 lo sviluppo di </a:t>
            </a:r>
            <a:b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</a:b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ecosistemi di innovazion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di respiro internazionale favorendo l’incontro tra domanda e offerta d’innovazione</a:t>
            </a: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/>
              <a:ea typeface="Open Sans Semibold"/>
              <a:cs typeface="Open Sans Semibold"/>
              <a:sym typeface="Open Sans Semibold"/>
            </a:endParaRPr>
          </a:p>
        </p:txBody>
      </p:sp>
      <p:sp>
        <p:nvSpPr>
          <p:cNvPr id="39" name="Shape 214" descr="Circle">
            <a:extLst>
              <a:ext uri="{FF2B5EF4-FFF2-40B4-BE49-F238E27FC236}">
                <a16:creationId xmlns:a16="http://schemas.microsoft.com/office/drawing/2014/main" id="{2C289BE6-BFF7-2149-9CE4-39B57EDFA8D9}"/>
              </a:ext>
            </a:extLst>
          </p:cNvPr>
          <p:cNvSpPr/>
          <p:nvPr/>
        </p:nvSpPr>
        <p:spPr>
          <a:xfrm>
            <a:off x="4467793" y="4720386"/>
            <a:ext cx="1046035" cy="1047542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B778DEFD-977A-6E45-835B-0BF21305861F}"/>
              </a:ext>
            </a:extLst>
          </p:cNvPr>
          <p:cNvGrpSpPr/>
          <p:nvPr/>
        </p:nvGrpSpPr>
        <p:grpSpPr>
          <a:xfrm>
            <a:off x="7544078" y="3024100"/>
            <a:ext cx="1046033" cy="1047542"/>
            <a:chOff x="6504424" y="4684157"/>
            <a:chExt cx="1025209" cy="1026688"/>
          </a:xfrm>
        </p:grpSpPr>
        <p:sp>
          <p:nvSpPr>
            <p:cNvPr id="34" name="Shape 210" descr="Circle">
              <a:extLst>
                <a:ext uri="{FF2B5EF4-FFF2-40B4-BE49-F238E27FC236}">
                  <a16:creationId xmlns:a16="http://schemas.microsoft.com/office/drawing/2014/main" id="{CBECC36A-DAC4-BD41-93A3-16FF7D07035B}"/>
                </a:ext>
              </a:extLst>
            </p:cNvPr>
            <p:cNvSpPr/>
            <p:nvPr/>
          </p:nvSpPr>
          <p:spPr>
            <a:xfrm>
              <a:off x="6504424" y="4684157"/>
              <a:ext cx="1025209" cy="1026688"/>
            </a:xfrm>
            <a:prstGeom prst="ellipse">
              <a:avLst/>
            </a:prstGeom>
            <a:solidFill>
              <a:schemeClr val="accent4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50" name="image12.png" descr="image15.png">
              <a:extLst>
                <a:ext uri="{FF2B5EF4-FFF2-40B4-BE49-F238E27FC236}">
                  <a16:creationId xmlns:a16="http://schemas.microsoft.com/office/drawing/2014/main" id="{143CD00F-9BA2-7643-881E-65332ED35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37886" y="4921153"/>
              <a:ext cx="549331" cy="54933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36" name="Shape 212" descr="Circle">
            <a:extLst>
              <a:ext uri="{FF2B5EF4-FFF2-40B4-BE49-F238E27FC236}">
                <a16:creationId xmlns:a16="http://schemas.microsoft.com/office/drawing/2014/main" id="{347C96D9-EB81-024B-9D58-0869E7D7002F}"/>
              </a:ext>
            </a:extLst>
          </p:cNvPr>
          <p:cNvSpPr/>
          <p:nvPr/>
        </p:nvSpPr>
        <p:spPr>
          <a:xfrm>
            <a:off x="6541580" y="4678193"/>
            <a:ext cx="1047600" cy="1047600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7" name="Shape 223" descr="Promuovere l’identità del Gruppo come leader dell’innovazione">
            <a:extLst>
              <a:ext uri="{FF2B5EF4-FFF2-40B4-BE49-F238E27FC236}">
                <a16:creationId xmlns:a16="http://schemas.microsoft.com/office/drawing/2014/main" id="{A1AF4D8B-E263-204E-BA2C-152CE895C258}"/>
              </a:ext>
            </a:extLst>
          </p:cNvPr>
          <p:cNvSpPr/>
          <p:nvPr/>
        </p:nvSpPr>
        <p:spPr>
          <a:xfrm>
            <a:off x="7787102" y="4898706"/>
            <a:ext cx="4029612" cy="1107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tIns="60959" rIns="60959" bIns="60959" anchor="t">
            <a:spAutoFit/>
          </a:bodyPr>
          <a:lstStyle/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Diffondere la cultura dell’innovazione valorizzando l’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identità</a:t>
            </a: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 del Gruppo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com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forza trainante di una nuova economia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Open Sans Semibold"/>
              <a:cs typeface="Open Sans Semibold"/>
              <a:sym typeface="Open Sans Semibold"/>
            </a:endParaRPr>
          </a:p>
        </p:txBody>
      </p:sp>
      <p:pic>
        <p:nvPicPr>
          <p:cNvPr id="51" name="image13.png" descr="image17.png">
            <a:extLst>
              <a:ext uri="{FF2B5EF4-FFF2-40B4-BE49-F238E27FC236}">
                <a16:creationId xmlns:a16="http://schemas.microsoft.com/office/drawing/2014/main" id="{D59EBB8C-66EE-ED4A-8F60-D8AAEB7900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3312" y="4932401"/>
            <a:ext cx="545822" cy="545822"/>
          </a:xfrm>
          <a:prstGeom prst="rect">
            <a:avLst/>
          </a:prstGeom>
          <a:ln w="12700">
            <a:miter lim="400000"/>
          </a:ln>
        </p:spPr>
      </p:pic>
      <p:sp>
        <p:nvSpPr>
          <p:cNvPr id="37" name="Shape 213" descr="Circle">
            <a:extLst>
              <a:ext uri="{FF2B5EF4-FFF2-40B4-BE49-F238E27FC236}">
                <a16:creationId xmlns:a16="http://schemas.microsoft.com/office/drawing/2014/main" id="{4C77FF63-1C5C-A84E-9E71-C075A2D946FB}"/>
              </a:ext>
            </a:extLst>
          </p:cNvPr>
          <p:cNvSpPr/>
          <p:nvPr/>
        </p:nvSpPr>
        <p:spPr>
          <a:xfrm>
            <a:off x="4467794" y="1294833"/>
            <a:ext cx="1046033" cy="1047600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4" name="Shape 226" descr="Sviluppare laboratori e centri di competenza dedicati">
            <a:extLst>
              <a:ext uri="{FF2B5EF4-FFF2-40B4-BE49-F238E27FC236}">
                <a16:creationId xmlns:a16="http://schemas.microsoft.com/office/drawing/2014/main" id="{DAAB859E-1596-564F-A917-2EC29AC190AA}"/>
              </a:ext>
            </a:extLst>
          </p:cNvPr>
          <p:cNvSpPr/>
          <p:nvPr/>
        </p:nvSpPr>
        <p:spPr>
          <a:xfrm>
            <a:off x="789384" y="1137624"/>
            <a:ext cx="3437294" cy="1354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tIns="60959" rIns="60959" bIns="60959" anchor="t">
            <a:spAutoFit/>
          </a:bodyPr>
          <a:lstStyle>
            <a:lvl1pPr algn="l" defTabSz="1219200">
              <a:defRPr sz="3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</a:lstStyle>
          <a:p>
            <a:pPr marL="0" marR="0" lvl="0" indent="0" algn="r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Analizzare i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trend del futuro </a:t>
            </a:r>
            <a:b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</a:b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e s</a:t>
            </a:r>
            <a:r>
              <a:rPr kumimoji="0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viluppar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progetti multidisciplinari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 di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ricerca applicata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 in collaborazione con centri di ricerca d’eccellenza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Open Sans Semibold"/>
              <a:cs typeface="Open Sans Semibold"/>
              <a:sym typeface="Open Sans Semibold"/>
            </a:endParaRPr>
          </a:p>
        </p:txBody>
      </p:sp>
      <p:sp>
        <p:nvSpPr>
          <p:cNvPr id="55" name="Shape 225" descr="Sostenere la transizione dell’ecosistema produttivo verso la Circular Economy">
            <a:extLst>
              <a:ext uri="{FF2B5EF4-FFF2-40B4-BE49-F238E27FC236}">
                <a16:creationId xmlns:a16="http://schemas.microsoft.com/office/drawing/2014/main" id="{A7C9327D-45F9-40CA-8A8B-0029825433D5}"/>
              </a:ext>
            </a:extLst>
          </p:cNvPr>
          <p:cNvSpPr/>
          <p:nvPr/>
        </p:nvSpPr>
        <p:spPr>
          <a:xfrm>
            <a:off x="8772829" y="3096362"/>
            <a:ext cx="3190155" cy="1107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tIns="60959" rIns="60959" bIns="60959" anchor="t">
            <a:spAutoFit/>
          </a:bodyPr>
          <a:lstStyle>
            <a:lvl1pPr algn="l" defTabSz="1219200">
              <a:defRPr sz="34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</a:lstStyle>
          <a:p>
            <a:pPr marL="0" marR="0" lvl="0" indent="0" algn="l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554937" algn="l"/>
              </a:tabLst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Supportare il percorso </a:t>
            </a:r>
          </a:p>
          <a:p>
            <a:pPr marL="0" marR="0" lvl="0" indent="0" algn="l" defTabSz="1243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554937" algn="l"/>
              </a:tabLst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di transizione del </a:t>
            </a:r>
            <a:b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</a:b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sistema Paese verso </a:t>
            </a:r>
            <a:b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</a:b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Open Sans Semibold"/>
                <a:cs typeface="Open Sans Semibold"/>
                <a:sym typeface="Open Sans Semibold"/>
              </a:rPr>
              <a:t>la </a:t>
            </a:r>
            <a:r>
              <a:rPr kumimoji="0" lang="it-IT" sz="1600" b="1" i="0" u="none" strike="noStrike" kern="1200" cap="none" spc="0" normalizeH="0" baseline="0" noProof="0" err="1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Open Sans Semibold"/>
                <a:cs typeface="Open Sans Semibold"/>
                <a:sym typeface="Open Sans Semibold"/>
              </a:rPr>
              <a:t>Circular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06B9B"/>
                </a:solidFill>
                <a:effectLst/>
                <a:uLnTx/>
                <a:uFillTx/>
                <a:latin typeface="Century Gothic" panose="020B0502020202020204" pitchFamily="34" charset="0"/>
                <a:ea typeface="Open Sans Semibold"/>
                <a:cs typeface="Open Sans Semibold"/>
                <a:sym typeface="Open Sans Semibold"/>
              </a:rPr>
              <a:t> Economy</a:t>
            </a: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06B9B"/>
              </a:solidFill>
              <a:effectLst/>
              <a:uLnTx/>
              <a:uFillTx/>
              <a:latin typeface="Century Gothic"/>
              <a:ea typeface="Open Sans Semibold"/>
              <a:cs typeface="Open Sans Semibold"/>
              <a:sym typeface="Open Sans Semibold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57E422D-CAD2-CE40-9A5B-4B014EAFA7C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528385" y="4806468"/>
            <a:ext cx="901700" cy="9017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7EEC54D4-29D8-4C4C-AB8D-5897B7E3974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657315" y="1490524"/>
            <a:ext cx="667219" cy="66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0955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6BD18343-E5DD-4B74-B64F-9C3E3A2025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6041" y="1031554"/>
            <a:ext cx="2645795" cy="36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1219086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altLang="it-IT" sz="1600" b="1">
              <a:solidFill>
                <a:srgbClr val="000000"/>
              </a:solidFill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40" name="Segnaposto testo 17">
            <a:extLst>
              <a:ext uri="{FF2B5EF4-FFF2-40B4-BE49-F238E27FC236}">
                <a16:creationId xmlns:a16="http://schemas.microsoft.com/office/drawing/2014/main" id="{AEDDD573-D4A5-471F-B8A8-DCD668A8A87E}"/>
              </a:ext>
            </a:extLst>
          </p:cNvPr>
          <p:cNvSpPr txBox="1">
            <a:spLocks/>
          </p:cNvSpPr>
          <p:nvPr/>
        </p:nvSpPr>
        <p:spPr>
          <a:xfrm>
            <a:off x="424472" y="1133332"/>
            <a:ext cx="2424261" cy="36194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14">
              <a:buNone/>
              <a:defRPr/>
            </a:pP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1.</a:t>
            </a: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</a:t>
            </a:r>
          </a:p>
          <a:p>
            <a:pPr marL="0" indent="0" defTabSz="914314">
              <a:buNone/>
              <a:defRPr/>
            </a:pPr>
            <a:r>
              <a:rPr lang="it-IT" sz="1837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Scouting</a:t>
            </a: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</a:t>
            </a:r>
          </a:p>
          <a:p>
            <a:pPr marL="0" indent="0" defTabSz="914314">
              <a:buNone/>
              <a:defRPr/>
            </a:pPr>
            <a:r>
              <a:rPr lang="it-IT" sz="1837" b="0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Call for </a:t>
            </a:r>
            <a:r>
              <a:rPr lang="it-IT" sz="1837" b="0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startups</a:t>
            </a:r>
            <a:endParaRPr lang="it-IT" sz="1837" b="0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42" name="Segnaposto testo 17">
            <a:extLst>
              <a:ext uri="{FF2B5EF4-FFF2-40B4-BE49-F238E27FC236}">
                <a16:creationId xmlns:a16="http://schemas.microsoft.com/office/drawing/2014/main" id="{6ED7C70A-46B8-4522-A614-E9316AAAE43F}"/>
              </a:ext>
            </a:extLst>
          </p:cNvPr>
          <p:cNvSpPr txBox="1">
            <a:spLocks/>
          </p:cNvSpPr>
          <p:nvPr/>
        </p:nvSpPr>
        <p:spPr>
          <a:xfrm>
            <a:off x="3231962" y="1133331"/>
            <a:ext cx="2424261" cy="39443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14">
              <a:buNone/>
              <a:defRPr/>
            </a:pP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2. </a:t>
            </a:r>
          </a:p>
          <a:p>
            <a:pPr marL="0" indent="0" defTabSz="914314">
              <a:buNone/>
              <a:defRPr/>
            </a:pPr>
            <a:r>
              <a:rPr lang="it-IT" sz="1837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Coaching</a:t>
            </a: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 </a:t>
            </a:r>
          </a:p>
          <a:p>
            <a:pPr marL="0" indent="0" defTabSz="914314">
              <a:buNone/>
              <a:defRPr/>
            </a:pPr>
            <a:r>
              <a:rPr lang="it-IT" sz="1837" b="0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Boot</a:t>
            </a:r>
            <a:r>
              <a:rPr lang="it-IT" sz="1837" b="0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Camp</a:t>
            </a:r>
          </a:p>
        </p:txBody>
      </p:sp>
      <p:grpSp>
        <p:nvGrpSpPr>
          <p:cNvPr id="33" name="Gruppo 32"/>
          <p:cNvGrpSpPr/>
          <p:nvPr/>
        </p:nvGrpSpPr>
        <p:grpSpPr>
          <a:xfrm>
            <a:off x="2923619" y="1270675"/>
            <a:ext cx="181403" cy="4737319"/>
            <a:chOff x="5716599" y="1642659"/>
            <a:chExt cx="177792" cy="4172890"/>
          </a:xfrm>
        </p:grpSpPr>
        <p:cxnSp>
          <p:nvCxnSpPr>
            <p:cNvPr id="34" name="Straight Connector 81">
              <a:extLst>
                <a:ext uri="{FF2B5EF4-FFF2-40B4-BE49-F238E27FC236}">
                  <a16:creationId xmlns:a16="http://schemas.microsoft.com/office/drawing/2014/main" id="{7D87408A-B4A8-4737-A9DD-6F2D212E59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2350" y="1642659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19">
              <a:extLst>
                <a:ext uri="{FF2B5EF4-FFF2-40B4-BE49-F238E27FC236}">
                  <a16:creationId xmlns:a16="http://schemas.microsoft.com/office/drawing/2014/main" id="{FF623E66-79B6-404D-A0EE-DB9850AA149A}"/>
                </a:ext>
              </a:extLst>
            </p:cNvPr>
            <p:cNvGrpSpPr/>
            <p:nvPr/>
          </p:nvGrpSpPr>
          <p:grpSpPr bwMode="gray">
            <a:xfrm>
              <a:off x="5716599" y="3499347"/>
              <a:ext cx="177792" cy="420688"/>
              <a:chOff x="6780822" y="3385011"/>
              <a:chExt cx="241420" cy="286607"/>
            </a:xfrm>
          </p:grpSpPr>
          <p:sp>
            <p:nvSpPr>
              <p:cNvPr id="37" name="Isosceles Triangle 20">
                <a:extLst>
                  <a:ext uri="{FF2B5EF4-FFF2-40B4-BE49-F238E27FC236}">
                    <a16:creationId xmlns:a16="http://schemas.microsoft.com/office/drawing/2014/main" id="{68F2A6DC-F759-4E85-9B85-D47DE7040CC9}"/>
                  </a:ext>
                </a:extLst>
              </p:cNvPr>
              <p:cNvSpPr/>
              <p:nvPr/>
            </p:nvSpPr>
            <p:spPr bwMode="gray">
              <a:xfrm rot="5400000">
                <a:off x="6790912" y="3440289"/>
                <a:ext cx="286607" cy="176052"/>
              </a:xfrm>
              <a:prstGeom prst="triangle">
                <a:avLst/>
              </a:prstGeom>
              <a:solidFill>
                <a:schemeClr val="accent1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Isosceles Triangle 21">
                <a:extLst>
                  <a:ext uri="{FF2B5EF4-FFF2-40B4-BE49-F238E27FC236}">
                    <a16:creationId xmlns:a16="http://schemas.microsoft.com/office/drawing/2014/main" id="{68B6C533-471F-472E-9A5C-F342A0EF6BE6}"/>
                  </a:ext>
                </a:extLst>
              </p:cNvPr>
              <p:cNvSpPr/>
              <p:nvPr/>
            </p:nvSpPr>
            <p:spPr bwMode="gray">
              <a:xfrm rot="5400000">
                <a:off x="6732253" y="3450970"/>
                <a:ext cx="251830" cy="154691"/>
              </a:xfrm>
              <a:prstGeom prst="triangle">
                <a:avLst/>
              </a:prstGeom>
              <a:solidFill>
                <a:schemeClr val="accent4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cxnSp>
          <p:nvCxnSpPr>
            <p:cNvPr id="36" name="Straight Connector 81">
              <a:extLst>
                <a:ext uri="{FF2B5EF4-FFF2-40B4-BE49-F238E27FC236}">
                  <a16:creationId xmlns:a16="http://schemas.microsoft.com/office/drawing/2014/main" id="{7D87408A-B4A8-4737-A9DD-6F2D212E59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812" y="4100741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 lIns="0" tIns="0" rIns="0" bIns="0" anchor="t"/>
          <a:lstStyle/>
          <a:p>
            <a:r>
              <a:rPr lang="it-IT" b="1">
                <a:solidFill>
                  <a:srgbClr val="003A79"/>
                </a:solidFill>
                <a:latin typeface="Century Gothic"/>
              </a:rPr>
              <a:t>Startup </a:t>
            </a:r>
            <a:r>
              <a:rPr lang="it-IT" b="1" err="1">
                <a:solidFill>
                  <a:srgbClr val="003A79"/>
                </a:solidFill>
                <a:latin typeface="Century Gothic"/>
              </a:rPr>
              <a:t>Initiative</a:t>
            </a:r>
            <a:r>
              <a:rPr lang="it-IT" b="1">
                <a:solidFill>
                  <a:srgbClr val="003A79"/>
                </a:solidFill>
                <a:latin typeface="Century Gothic"/>
              </a:rPr>
              <a:t> in White Label</a:t>
            </a:r>
            <a:r>
              <a:rPr lang="it-IT">
                <a:latin typeface="Century Gothic"/>
                <a:ea typeface="Century Gothic"/>
                <a:cs typeface="Century Gothic"/>
              </a:rPr>
              <a:t>​ - Le fasi</a:t>
            </a:r>
            <a:br>
              <a:rPr lang="it-IT">
                <a:latin typeface="Century Gothic"/>
                <a:ea typeface="Century Gothic"/>
                <a:cs typeface="Century Gothic"/>
              </a:rPr>
            </a:br>
            <a:r>
              <a:rPr lang="it-IT">
                <a:latin typeface="Century Gothic"/>
                <a:ea typeface="Century Gothic"/>
                <a:cs typeface="Century Gothic"/>
              </a:rPr>
              <a:t>​</a:t>
            </a:r>
            <a:endParaRPr lang="it-IT"/>
          </a:p>
        </p:txBody>
      </p:sp>
      <p:sp>
        <p:nvSpPr>
          <p:cNvPr id="23" name="Segnaposto testo 17">
            <a:extLst>
              <a:ext uri="{FF2B5EF4-FFF2-40B4-BE49-F238E27FC236}">
                <a16:creationId xmlns:a16="http://schemas.microsoft.com/office/drawing/2014/main" id="{29BE52BD-0200-D84C-9840-64CA5F031C1F}"/>
              </a:ext>
            </a:extLst>
          </p:cNvPr>
          <p:cNvSpPr txBox="1">
            <a:spLocks/>
          </p:cNvSpPr>
          <p:nvPr/>
        </p:nvSpPr>
        <p:spPr>
          <a:xfrm>
            <a:off x="6062990" y="1133332"/>
            <a:ext cx="2424261" cy="36194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14">
              <a:buNone/>
              <a:defRPr/>
            </a:pP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3.</a:t>
            </a:r>
            <a:r>
              <a:rPr lang="it-IT" sz="1837">
                <a:solidFill>
                  <a:srgbClr val="003A79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</a:t>
            </a:r>
          </a:p>
          <a:p>
            <a:pPr marL="0" indent="0" defTabSz="914314">
              <a:buNone/>
              <a:defRPr/>
            </a:pPr>
            <a:r>
              <a:rPr lang="it-IT" sz="1837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Selection</a:t>
            </a: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</a:t>
            </a:r>
          </a:p>
          <a:p>
            <a:pPr marL="0" indent="0" defTabSz="914314">
              <a:buNone/>
              <a:defRPr/>
            </a:pPr>
            <a:r>
              <a:rPr lang="it-IT" sz="1837" b="0" i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Deal Line-Up</a:t>
            </a:r>
          </a:p>
        </p:txBody>
      </p:sp>
      <p:sp>
        <p:nvSpPr>
          <p:cNvPr id="24" name="Segnaposto testo 17">
            <a:extLst>
              <a:ext uri="{FF2B5EF4-FFF2-40B4-BE49-F238E27FC236}">
                <a16:creationId xmlns:a16="http://schemas.microsoft.com/office/drawing/2014/main" id="{CB4A0A52-4287-1743-BCF2-EB3CD83DEB4B}"/>
              </a:ext>
            </a:extLst>
          </p:cNvPr>
          <p:cNvSpPr txBox="1">
            <a:spLocks/>
          </p:cNvSpPr>
          <p:nvPr/>
        </p:nvSpPr>
        <p:spPr>
          <a:xfrm>
            <a:off x="6058525" y="2534882"/>
            <a:ext cx="2497133" cy="32181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933" marR="6774" indent="0" defTabSz="932962">
              <a:spcBef>
                <a:spcPts val="800"/>
              </a:spcBef>
              <a:buSzPct val="130000"/>
              <a:buNone/>
            </a:pPr>
            <a: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esentazione di tutte le startup</a:t>
            </a:r>
            <a:r>
              <a:rPr lang="it-IT" sz="1428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28" b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l Programma al panel di esperti selezionati dal cliente</a:t>
            </a:r>
          </a:p>
          <a:p>
            <a:pPr marL="16933" marR="6774" indent="0" defTabSz="932962">
              <a:spcBef>
                <a:spcPts val="800"/>
              </a:spcBef>
              <a:buSzPct val="130000"/>
              <a:buNone/>
            </a:pPr>
            <a: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alisi e valutazione delle startup </a:t>
            </a:r>
            <a:r>
              <a:rPr lang="it-IT" sz="1428" b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 parte del panel di esperti sulla base di un </a:t>
            </a:r>
            <a:r>
              <a:rPr lang="it-IT" sz="1428" b="0" i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lo di valutazione a 4 dimensioni</a:t>
            </a:r>
          </a:p>
          <a:p>
            <a:pPr marL="16933" marR="6774" indent="0" defTabSz="932962">
              <a:spcBef>
                <a:spcPts val="800"/>
              </a:spcBef>
              <a:buSzPct val="130000"/>
              <a:buNone/>
            </a:pPr>
            <a: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lezione delle startup </a:t>
            </a:r>
            <a:b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it-IT" sz="1428" b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 avranno accesso alla fase finale </a:t>
            </a:r>
          </a:p>
        </p:txBody>
      </p:sp>
      <p:sp>
        <p:nvSpPr>
          <p:cNvPr id="25" name="Segnaposto testo 17">
            <a:extLst>
              <a:ext uri="{FF2B5EF4-FFF2-40B4-BE49-F238E27FC236}">
                <a16:creationId xmlns:a16="http://schemas.microsoft.com/office/drawing/2014/main" id="{6E4B55A8-EC30-2248-AA72-21374141B6AC}"/>
              </a:ext>
            </a:extLst>
          </p:cNvPr>
          <p:cNvSpPr txBox="1">
            <a:spLocks/>
          </p:cNvSpPr>
          <p:nvPr/>
        </p:nvSpPr>
        <p:spPr>
          <a:xfrm>
            <a:off x="9007658" y="1133331"/>
            <a:ext cx="2424261" cy="39443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14">
              <a:buNone/>
              <a:defRPr/>
            </a:pP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4. </a:t>
            </a:r>
          </a:p>
          <a:p>
            <a:pPr marL="0" indent="0" defTabSz="914314">
              <a:buNone/>
              <a:defRPr/>
            </a:pPr>
            <a:r>
              <a:rPr lang="it-IT" sz="1837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Final</a:t>
            </a:r>
            <a:r>
              <a:rPr lang="it-IT" sz="1837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 </a:t>
            </a:r>
            <a:r>
              <a:rPr lang="it-IT" sz="1837" err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event</a:t>
            </a:r>
            <a:endParaRPr lang="it-IT" sz="1837">
              <a:solidFill>
                <a:srgbClr val="406B9B"/>
              </a:solidFill>
              <a:latin typeface="Century Gothic" panose="020B0502020202020204" pitchFamily="34" charset="0"/>
              <a:ea typeface="ＭＳ Ｐゴシック"/>
              <a:cs typeface="Calibri" panose="020F0502020204030204" pitchFamily="34" charset="0"/>
              <a:sym typeface="Helvetica Light"/>
            </a:endParaRPr>
          </a:p>
          <a:p>
            <a:pPr marL="0" indent="0" defTabSz="914314">
              <a:buNone/>
              <a:defRPr/>
            </a:pPr>
            <a:r>
              <a:rPr lang="it-IT" sz="1837" b="0" i="1">
                <a:solidFill>
                  <a:srgbClr val="406B9B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Investor Arena</a:t>
            </a:r>
          </a:p>
        </p:txBody>
      </p:sp>
      <p:sp>
        <p:nvSpPr>
          <p:cNvPr id="26" name="Segnaposto testo 17">
            <a:extLst>
              <a:ext uri="{FF2B5EF4-FFF2-40B4-BE49-F238E27FC236}">
                <a16:creationId xmlns:a16="http://schemas.microsoft.com/office/drawing/2014/main" id="{C96B722D-C95C-9749-B871-463CFEC79AFA}"/>
              </a:ext>
            </a:extLst>
          </p:cNvPr>
          <p:cNvSpPr txBox="1">
            <a:spLocks/>
          </p:cNvSpPr>
          <p:nvPr/>
        </p:nvSpPr>
        <p:spPr bwMode="auto">
          <a:xfrm>
            <a:off x="8963837" y="2531647"/>
            <a:ext cx="3039417" cy="3218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6933" marR="6774" indent="0" defTabSz="932962" fontAlgn="base">
              <a:spcBef>
                <a:spcPts val="800"/>
              </a:spcBef>
              <a:spcAft>
                <a:spcPct val="0"/>
              </a:spcAft>
              <a:buSzPct val="130000"/>
            </a:pPr>
            <a:r>
              <a:rPr lang="it-IT" sz="1428" b="1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esentazione delle startup finaliste</a:t>
            </a:r>
            <a:r>
              <a:rPr lang="it-IT" sz="1428">
                <a:latin typeface="Century Gothic" panose="020B0502020202020204" pitchFamily="34" charset="0"/>
                <a:cs typeface="Arial" panose="020B0604020202020204" pitchFamily="34" charset="0"/>
              </a:rPr>
              <a:t> al board e al management dell’azienda cliente, moderata dai coach del programma</a:t>
            </a:r>
          </a:p>
          <a:p>
            <a:pPr marL="16933" marR="6774" indent="0" defTabSz="932962" fontAlgn="base">
              <a:spcBef>
                <a:spcPts val="800"/>
              </a:spcBef>
              <a:spcAft>
                <a:spcPct val="0"/>
              </a:spcAft>
              <a:buSzPct val="130000"/>
            </a:pPr>
            <a:r>
              <a:rPr lang="it-IT" sz="1428" b="1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alisi e valutazione delle startup </a:t>
            </a:r>
            <a:r>
              <a:rPr lang="it-IT" sz="1428">
                <a:latin typeface="Century Gothic" panose="020B0502020202020204" pitchFamily="34" charset="0"/>
                <a:cs typeface="Arial" panose="020B0604020202020204" pitchFamily="34" charset="0"/>
              </a:rPr>
              <a:t>da parte del board e del management dell’azienda cliente sulla base di un </a:t>
            </a:r>
            <a:r>
              <a:rPr lang="it-IT" sz="1428" i="1">
                <a:latin typeface="Century Gothic" panose="020B0502020202020204" pitchFamily="34" charset="0"/>
                <a:cs typeface="Arial" panose="020B0604020202020204" pitchFamily="34" charset="0"/>
              </a:rPr>
              <a:t>Modello di valutazione a 4 dimensioni</a:t>
            </a:r>
          </a:p>
          <a:p>
            <a:pPr marL="16933" marR="6774" indent="0" defTabSz="932962" fontAlgn="base">
              <a:spcBef>
                <a:spcPts val="800"/>
              </a:spcBef>
              <a:spcAft>
                <a:spcPct val="0"/>
              </a:spcAft>
              <a:buSzPct val="130000"/>
            </a:pPr>
            <a:r>
              <a:rPr lang="it-IT" sz="1428" b="1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lezione e premiazione</a:t>
            </a:r>
            <a:r>
              <a:rPr lang="it-IT" sz="1428">
                <a:latin typeface="Century Gothic" panose="020B0502020202020204" pitchFamily="34" charset="0"/>
                <a:cs typeface="Arial" panose="020B0604020202020204" pitchFamily="34" charset="0"/>
              </a:rPr>
              <a:t> della/e startup vincitrici del programma di accelerazione</a:t>
            </a:r>
          </a:p>
        </p:txBody>
      </p: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640AC672-C203-6841-ACC2-E2572BB88C91}"/>
              </a:ext>
            </a:extLst>
          </p:cNvPr>
          <p:cNvGrpSpPr/>
          <p:nvPr/>
        </p:nvGrpSpPr>
        <p:grpSpPr>
          <a:xfrm>
            <a:off x="5802794" y="1270675"/>
            <a:ext cx="181403" cy="4737319"/>
            <a:chOff x="5716599" y="1642659"/>
            <a:chExt cx="177792" cy="4172890"/>
          </a:xfrm>
        </p:grpSpPr>
        <p:cxnSp>
          <p:nvCxnSpPr>
            <p:cNvPr id="44" name="Straight Connector 81">
              <a:extLst>
                <a:ext uri="{FF2B5EF4-FFF2-40B4-BE49-F238E27FC236}">
                  <a16:creationId xmlns:a16="http://schemas.microsoft.com/office/drawing/2014/main" id="{192846E4-FBDA-DF46-AAF3-86936B3FCB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2350" y="1642659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19">
              <a:extLst>
                <a:ext uri="{FF2B5EF4-FFF2-40B4-BE49-F238E27FC236}">
                  <a16:creationId xmlns:a16="http://schemas.microsoft.com/office/drawing/2014/main" id="{0955AFF6-740B-E249-ADAB-E83FAA133174}"/>
                </a:ext>
              </a:extLst>
            </p:cNvPr>
            <p:cNvGrpSpPr/>
            <p:nvPr/>
          </p:nvGrpSpPr>
          <p:grpSpPr bwMode="gray">
            <a:xfrm>
              <a:off x="5716599" y="3499347"/>
              <a:ext cx="177792" cy="420688"/>
              <a:chOff x="6780822" y="3385011"/>
              <a:chExt cx="241420" cy="286607"/>
            </a:xfrm>
          </p:grpSpPr>
          <p:sp>
            <p:nvSpPr>
              <p:cNvPr id="48" name="Isosceles Triangle 20">
                <a:extLst>
                  <a:ext uri="{FF2B5EF4-FFF2-40B4-BE49-F238E27FC236}">
                    <a16:creationId xmlns:a16="http://schemas.microsoft.com/office/drawing/2014/main" id="{D1C27B82-3939-0C45-892F-A1CB5E311BDF}"/>
                  </a:ext>
                </a:extLst>
              </p:cNvPr>
              <p:cNvSpPr/>
              <p:nvPr/>
            </p:nvSpPr>
            <p:spPr bwMode="gray">
              <a:xfrm rot="5400000">
                <a:off x="6790912" y="3440289"/>
                <a:ext cx="286607" cy="176052"/>
              </a:xfrm>
              <a:prstGeom prst="triangle">
                <a:avLst/>
              </a:prstGeom>
              <a:solidFill>
                <a:schemeClr val="accent1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Isosceles Triangle 21">
                <a:extLst>
                  <a:ext uri="{FF2B5EF4-FFF2-40B4-BE49-F238E27FC236}">
                    <a16:creationId xmlns:a16="http://schemas.microsoft.com/office/drawing/2014/main" id="{6352804A-C54D-E84D-9E45-11FA522EBA37}"/>
                  </a:ext>
                </a:extLst>
              </p:cNvPr>
              <p:cNvSpPr/>
              <p:nvPr/>
            </p:nvSpPr>
            <p:spPr bwMode="gray">
              <a:xfrm rot="5400000">
                <a:off x="6732253" y="3450970"/>
                <a:ext cx="251830" cy="154691"/>
              </a:xfrm>
              <a:prstGeom prst="triangle">
                <a:avLst/>
              </a:prstGeom>
              <a:solidFill>
                <a:schemeClr val="accent4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cxnSp>
          <p:nvCxnSpPr>
            <p:cNvPr id="47" name="Straight Connector 81">
              <a:extLst>
                <a:ext uri="{FF2B5EF4-FFF2-40B4-BE49-F238E27FC236}">
                  <a16:creationId xmlns:a16="http://schemas.microsoft.com/office/drawing/2014/main" id="{439D72AD-A0F5-B449-A1F1-7FBABD0704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812" y="4100741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uppo 49">
            <a:extLst>
              <a:ext uri="{FF2B5EF4-FFF2-40B4-BE49-F238E27FC236}">
                <a16:creationId xmlns:a16="http://schemas.microsoft.com/office/drawing/2014/main" id="{A63DD627-111A-EA4E-A07F-E8117A4E0681}"/>
              </a:ext>
            </a:extLst>
          </p:cNvPr>
          <p:cNvGrpSpPr/>
          <p:nvPr/>
        </p:nvGrpSpPr>
        <p:grpSpPr>
          <a:xfrm>
            <a:off x="8681968" y="1348261"/>
            <a:ext cx="181403" cy="4737319"/>
            <a:chOff x="5716599" y="1642659"/>
            <a:chExt cx="177792" cy="4172890"/>
          </a:xfrm>
        </p:grpSpPr>
        <p:cxnSp>
          <p:nvCxnSpPr>
            <p:cNvPr id="51" name="Straight Connector 81">
              <a:extLst>
                <a:ext uri="{FF2B5EF4-FFF2-40B4-BE49-F238E27FC236}">
                  <a16:creationId xmlns:a16="http://schemas.microsoft.com/office/drawing/2014/main" id="{B928B858-21B8-DD4E-88ED-2152E16DD8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2350" y="1642659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oup 19">
              <a:extLst>
                <a:ext uri="{FF2B5EF4-FFF2-40B4-BE49-F238E27FC236}">
                  <a16:creationId xmlns:a16="http://schemas.microsoft.com/office/drawing/2014/main" id="{49272074-9D68-C044-A7F4-C2440F601D48}"/>
                </a:ext>
              </a:extLst>
            </p:cNvPr>
            <p:cNvGrpSpPr/>
            <p:nvPr/>
          </p:nvGrpSpPr>
          <p:grpSpPr bwMode="gray">
            <a:xfrm>
              <a:off x="5716599" y="3499347"/>
              <a:ext cx="177792" cy="420688"/>
              <a:chOff x="6780822" y="3385011"/>
              <a:chExt cx="241420" cy="286607"/>
            </a:xfrm>
          </p:grpSpPr>
          <p:sp>
            <p:nvSpPr>
              <p:cNvPr id="55" name="Isosceles Triangle 20">
                <a:extLst>
                  <a:ext uri="{FF2B5EF4-FFF2-40B4-BE49-F238E27FC236}">
                    <a16:creationId xmlns:a16="http://schemas.microsoft.com/office/drawing/2014/main" id="{9F05A24D-CA10-A84B-A929-29CBDE4E5527}"/>
                  </a:ext>
                </a:extLst>
              </p:cNvPr>
              <p:cNvSpPr/>
              <p:nvPr/>
            </p:nvSpPr>
            <p:spPr bwMode="gray">
              <a:xfrm rot="5400000">
                <a:off x="6790912" y="3440289"/>
                <a:ext cx="286607" cy="176052"/>
              </a:xfrm>
              <a:prstGeom prst="triangle">
                <a:avLst/>
              </a:prstGeom>
              <a:solidFill>
                <a:schemeClr val="accent1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Isosceles Triangle 21">
                <a:extLst>
                  <a:ext uri="{FF2B5EF4-FFF2-40B4-BE49-F238E27FC236}">
                    <a16:creationId xmlns:a16="http://schemas.microsoft.com/office/drawing/2014/main" id="{2CDEC9F8-E09B-B948-B196-8A62A5118F02}"/>
                  </a:ext>
                </a:extLst>
              </p:cNvPr>
              <p:cNvSpPr/>
              <p:nvPr/>
            </p:nvSpPr>
            <p:spPr bwMode="gray">
              <a:xfrm rot="5400000">
                <a:off x="6732253" y="3450970"/>
                <a:ext cx="251830" cy="154691"/>
              </a:xfrm>
              <a:prstGeom prst="triangle">
                <a:avLst/>
              </a:prstGeom>
              <a:solidFill>
                <a:schemeClr val="accent4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3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cxnSp>
          <p:nvCxnSpPr>
            <p:cNvPr id="54" name="Straight Connector 81">
              <a:extLst>
                <a:ext uri="{FF2B5EF4-FFF2-40B4-BE49-F238E27FC236}">
                  <a16:creationId xmlns:a16="http://schemas.microsoft.com/office/drawing/2014/main" id="{19CE9C9C-86FC-3A42-872B-C083E336E57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812" y="4100741"/>
              <a:ext cx="1" cy="1714808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Segnaposto testo 17">
            <a:extLst>
              <a:ext uri="{FF2B5EF4-FFF2-40B4-BE49-F238E27FC236}">
                <a16:creationId xmlns:a16="http://schemas.microsoft.com/office/drawing/2014/main" id="{66800D09-ADFD-1746-A70A-5DF52732EDD9}"/>
              </a:ext>
            </a:extLst>
          </p:cNvPr>
          <p:cNvSpPr txBox="1">
            <a:spLocks/>
          </p:cNvSpPr>
          <p:nvPr/>
        </p:nvSpPr>
        <p:spPr>
          <a:xfrm>
            <a:off x="395869" y="2611007"/>
            <a:ext cx="2401441" cy="309847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16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1400" smtClean="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lang="it-IT" sz="2400" smtClean="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lang="it-IT" sz="2000" smtClean="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lang="it-IT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933" marR="6774" indent="0" defTabSz="932962">
              <a:buSzPct val="130000"/>
              <a:buNone/>
            </a:pPr>
            <a: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cerca delle migliori startup</a:t>
            </a:r>
            <a:r>
              <a:rPr lang="it-IT" sz="1428" b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ul mercato italiano e internazionale attraverso l’attivazione di Network di settore</a:t>
            </a:r>
          </a:p>
          <a:p>
            <a:pPr marL="245532" marR="6774" indent="-228599" defTabSz="932962">
              <a:buSzPct val="130000"/>
              <a:buBlip>
                <a:blip r:embed="rId3"/>
              </a:buBlip>
            </a:pPr>
            <a:endParaRPr lang="it-IT" sz="1428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6933" marR="6774" indent="0" defTabSz="932962">
              <a:buSzPct val="130000"/>
              <a:buNone/>
            </a:pPr>
            <a:r>
              <a:rPr lang="it-IT" sz="1428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lezione delle migliori candidate </a:t>
            </a:r>
            <a:r>
              <a:rPr lang="it-IT" sz="1428" b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lla base del modello 360° Analysis di Intesa Sanpaolo Innovation Center e dei criteri individuati dal cliente</a:t>
            </a:r>
          </a:p>
        </p:txBody>
      </p:sp>
      <p:sp>
        <p:nvSpPr>
          <p:cNvPr id="31" name="Segnaposto testo 17">
            <a:extLst>
              <a:ext uri="{FF2B5EF4-FFF2-40B4-BE49-F238E27FC236}">
                <a16:creationId xmlns:a16="http://schemas.microsoft.com/office/drawing/2014/main" id="{016BC7EB-ED6C-2442-BD3F-D207B053ECDB}"/>
              </a:ext>
            </a:extLst>
          </p:cNvPr>
          <p:cNvSpPr txBox="1">
            <a:spLocks/>
          </p:cNvSpPr>
          <p:nvPr/>
        </p:nvSpPr>
        <p:spPr bwMode="auto">
          <a:xfrm>
            <a:off x="3174797" y="2626619"/>
            <a:ext cx="2359190" cy="2069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6933" marR="6774" indent="-349861" defTabSz="932962" fontAlgn="base">
              <a:spcBef>
                <a:spcPts val="800"/>
              </a:spcBef>
              <a:spcAft>
                <a:spcPct val="0"/>
              </a:spcAft>
              <a:buSzPct val="130000"/>
            </a:pPr>
            <a:r>
              <a:rPr lang="it-IT" sz="1428">
                <a:latin typeface="Century Gothic" panose="020B0502020202020204" pitchFamily="34" charset="0"/>
                <a:cs typeface="Arial" panose="020B0604020202020204" pitchFamily="34" charset="0"/>
              </a:rPr>
              <a:t>Accesso da parte delle start up selezionate a strumenti e </a:t>
            </a:r>
            <a:r>
              <a:rPr lang="it-IT" sz="1428" b="1">
                <a:solidFill>
                  <a:srgbClr val="C0CCE4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petenze distintive erogate da coach con esperienze internazionali </a:t>
            </a:r>
            <a:r>
              <a:rPr lang="it-IT" sz="1428">
                <a:latin typeface="Century Gothic" panose="020B0502020202020204" pitchFamily="34" charset="0"/>
                <a:cs typeface="Arial" panose="020B0604020202020204" pitchFamily="34" charset="0"/>
              </a:rPr>
              <a:t>nel mondo dell’imprenditoria e del Venture Capital</a:t>
            </a:r>
          </a:p>
        </p:txBody>
      </p:sp>
    </p:spTree>
    <p:extLst>
      <p:ext uri="{BB962C8B-B14F-4D97-AF65-F5344CB8AC3E}">
        <p14:creationId xmlns:p14="http://schemas.microsoft.com/office/powerpoint/2010/main" val="5795801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75" y="1262726"/>
            <a:ext cx="4951733" cy="4951733"/>
          </a:xfrm>
          <a:prstGeom prst="rect">
            <a:avLst/>
          </a:prstGeom>
        </p:spPr>
      </p:pic>
      <p:sp>
        <p:nvSpPr>
          <p:cNvPr id="26" name="Rectangle 23">
            <a:extLst>
              <a:ext uri="{FF2B5EF4-FFF2-40B4-BE49-F238E27FC236}">
                <a16:creationId xmlns:a16="http://schemas.microsoft.com/office/drawing/2014/main" id="{6FF82666-C7A7-4084-AD92-0A27CFF0853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1758" y="6047384"/>
            <a:ext cx="6843766" cy="512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defTabSz="895350"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800100" algn="dec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47628">
              <a:buSzPct val="120000"/>
              <a:tabLst>
                <a:tab pos="400008" algn="dec"/>
              </a:tabLst>
              <a:defRPr/>
            </a:pPr>
            <a:r>
              <a:rPr lang="it-IT" altLang="it-IT" sz="1632" i="1" ker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Proporre </a:t>
            </a:r>
            <a:r>
              <a:rPr lang="it-IT" altLang="it-IT" sz="1632" b="1" i="1">
                <a:solidFill>
                  <a:srgbClr val="003A79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opportunità di innovazione </a:t>
            </a:r>
            <a:r>
              <a:rPr lang="it-IT" altLang="it-IT" sz="1632" i="1" ker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a imprese clienti selezionate aumentando la loro capacità di accesso alla </a:t>
            </a:r>
            <a:r>
              <a:rPr lang="it-IT" altLang="it-IT" sz="1632" b="1" i="1">
                <a:solidFill>
                  <a:srgbClr val="003A79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  <a:sym typeface="Helvetica Light"/>
              </a:rPr>
              <a:t>R&amp;D esterna</a:t>
            </a:r>
            <a:r>
              <a:rPr lang="it-IT" altLang="it-IT" sz="1632" i="1" kern="0">
                <a:solidFill>
                  <a:srgbClr val="000000"/>
                </a:solidFill>
                <a:latin typeface="Century Gothic" panose="020B0502020202020204" pitchFamily="34" charset="0"/>
                <a:cs typeface="Calibri" panose="020F0502020204030204" pitchFamily="34" charset="0"/>
                <a:sym typeface="Helvetica Light"/>
              </a:rPr>
              <a:t>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067929F-0140-405D-9A9D-2C35443E1DCE}"/>
              </a:ext>
            </a:extLst>
          </p:cNvPr>
          <p:cNvSpPr txBox="1"/>
          <p:nvPr/>
        </p:nvSpPr>
        <p:spPr>
          <a:xfrm>
            <a:off x="2270147" y="3370783"/>
            <a:ext cx="1929672" cy="671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2706" hangingPunct="0"/>
            <a:r>
              <a:rPr lang="it-IT" sz="1837" b="1" kern="0">
                <a:solidFill>
                  <a:srgbClr val="1F497D"/>
                </a:solidFill>
                <a:latin typeface="Century Gothic" panose="020B0502020202020204" pitchFamily="34" charset="0"/>
                <a:sym typeface="Helvetica Light"/>
              </a:rPr>
              <a:t>Scouting Tecnologico</a:t>
            </a:r>
          </a:p>
        </p:txBody>
      </p:sp>
      <p:sp>
        <p:nvSpPr>
          <p:cNvPr id="11" name="Segnaposto testo 14">
            <a:extLst>
              <a:ext uri="{FF2B5EF4-FFF2-40B4-BE49-F238E27FC236}">
                <a16:creationId xmlns:a16="http://schemas.microsoft.com/office/drawing/2014/main" id="{CF5FD024-BCF1-4978-BA81-0C8B60C6C654}"/>
              </a:ext>
            </a:extLst>
          </p:cNvPr>
          <p:cNvSpPr txBox="1">
            <a:spLocks/>
          </p:cNvSpPr>
          <p:nvPr/>
        </p:nvSpPr>
        <p:spPr>
          <a:xfrm>
            <a:off x="531366" y="754448"/>
            <a:ext cx="10898432" cy="797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anchor="ctr"/>
          <a:lstStyle>
            <a:defPPr>
              <a:defRPr lang="en-US"/>
            </a:defPPr>
            <a:lvl1pPr marL="0" indent="0" defTabSz="896123" eaLnBrk="0" hangingPunct="0">
              <a:spcBef>
                <a:spcPct val="20000"/>
              </a:spcBef>
              <a:buFont typeface="Wingdings" pitchFamily="2" charset="2"/>
              <a:buNone/>
              <a:defRPr>
                <a:solidFill>
                  <a:schemeClr val="tx1"/>
                </a:solidFill>
                <a:latin typeface="Century Gothic" panose="020B0502020202020204" pitchFamily="34" charset="0"/>
                <a:ea typeface="ＭＳ Ｐゴシック"/>
                <a:cs typeface="Calibri" panose="020F0502020204030204" pitchFamily="34" charset="0"/>
              </a:defRPr>
            </a:lvl1pPr>
            <a:lvl2pPr marL="44450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</a:defRPr>
            </a:lvl9pPr>
          </a:lstStyle>
          <a:p>
            <a:pPr defTabSz="914314" fontAlgn="base">
              <a:spcAft>
                <a:spcPct val="0"/>
              </a:spcAft>
            </a:pPr>
            <a:r>
              <a:rPr lang="it-IT" sz="1632">
                <a:solidFill>
                  <a:srgbClr val="000000"/>
                </a:solidFill>
              </a:rPr>
              <a:t>Servizio di ricerca di tecnologie e soluzioni innovative per l’azienda Cliente, erogato da Intesa Sanpaolo </a:t>
            </a:r>
            <a:r>
              <a:rPr lang="it-IT" sz="1632" err="1">
                <a:solidFill>
                  <a:srgbClr val="000000"/>
                </a:solidFill>
              </a:rPr>
              <a:t>Innovation</a:t>
            </a:r>
            <a:r>
              <a:rPr lang="it-IT" sz="1632">
                <a:solidFill>
                  <a:srgbClr val="000000"/>
                </a:solidFill>
              </a:rPr>
              <a:t> Center, in autonomia o con il supporto di partner tecnologici esterni specializzati</a:t>
            </a:r>
            <a:r>
              <a:rPr lang="it-IT" sz="1632">
                <a:solidFill>
                  <a:srgbClr val="000000"/>
                </a:solidFill>
                <a:sym typeface="Helvetica Light"/>
              </a:rPr>
              <a:t>.</a:t>
            </a:r>
          </a:p>
        </p:txBody>
      </p:sp>
      <p:sp>
        <p:nvSpPr>
          <p:cNvPr id="5" name="Rettangolo 4"/>
          <p:cNvSpPr/>
          <p:nvPr/>
        </p:nvSpPr>
        <p:spPr>
          <a:xfrm>
            <a:off x="1784783" y="4572976"/>
            <a:ext cx="1164647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224" b="1">
                <a:solidFill>
                  <a:srgbClr val="406B9B"/>
                </a:solidFill>
                <a:latin typeface="Century Gothic" panose="020B0502020202020204" pitchFamily="34" charset="0"/>
              </a:rPr>
              <a:t>valutazione</a:t>
            </a:r>
          </a:p>
        </p:txBody>
      </p:sp>
      <p:sp>
        <p:nvSpPr>
          <p:cNvPr id="6" name="Rettangolo 5"/>
          <p:cNvSpPr/>
          <p:nvPr/>
        </p:nvSpPr>
        <p:spPr>
          <a:xfrm>
            <a:off x="3722040" y="4572976"/>
            <a:ext cx="1164647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224" b="1">
                <a:solidFill>
                  <a:srgbClr val="003A79"/>
                </a:solidFill>
                <a:latin typeface="Century Gothic" panose="020B0502020202020204" pitchFamily="34" charset="0"/>
              </a:rPr>
              <a:t>validazione</a:t>
            </a:r>
          </a:p>
        </p:txBody>
      </p:sp>
      <p:sp>
        <p:nvSpPr>
          <p:cNvPr id="7" name="Rettangolo 6"/>
          <p:cNvSpPr/>
          <p:nvPr/>
        </p:nvSpPr>
        <p:spPr>
          <a:xfrm>
            <a:off x="1639161" y="2670672"/>
            <a:ext cx="1354869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224" b="1">
                <a:solidFill>
                  <a:srgbClr val="003A79"/>
                </a:solidFill>
                <a:latin typeface="Century Gothic" panose="020B0502020202020204" pitchFamily="34" charset="0"/>
              </a:rPr>
              <a:t>presentazione</a:t>
            </a:r>
          </a:p>
        </p:txBody>
      </p:sp>
      <p:sp>
        <p:nvSpPr>
          <p:cNvPr id="8" name="Rettangolo 7"/>
          <p:cNvSpPr/>
          <p:nvPr/>
        </p:nvSpPr>
        <p:spPr>
          <a:xfrm>
            <a:off x="3587458" y="2670672"/>
            <a:ext cx="1402426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224" b="1">
                <a:solidFill>
                  <a:srgbClr val="406B9B"/>
                </a:solidFill>
                <a:latin typeface="Century Gothic" panose="020B0502020202020204" pitchFamily="34" charset="0"/>
              </a:rPr>
              <a:t>identificazione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6742572" y="1973714"/>
            <a:ext cx="4638783" cy="350469"/>
          </a:xfrm>
          <a:prstGeom prst="rect">
            <a:avLst/>
          </a:prstGeom>
          <a:solidFill>
            <a:srgbClr val="406B9B"/>
          </a:solidFill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FFFFFF"/>
                </a:solidFill>
                <a:latin typeface="Century Gothic" panose="020B0502020202020204" pitchFamily="34" charset="0"/>
              </a:rPr>
              <a:t>IDENTIFICAZIONE ESIGENZE TECNOLOGICHE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7025523" y="2955520"/>
            <a:ext cx="4059794" cy="350469"/>
          </a:xfrm>
          <a:prstGeom prst="rect">
            <a:avLst/>
          </a:prstGeom>
          <a:solidFill>
            <a:srgbClr val="406B9B"/>
          </a:solidFill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FFFFFF"/>
                </a:solidFill>
                <a:latin typeface="Century Gothic" panose="020B0502020202020204" pitchFamily="34" charset="0"/>
              </a:rPr>
              <a:t>SCOUTING DEDICATO DI TECNOLOGIE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7194804" y="3914172"/>
            <a:ext cx="3719598" cy="350469"/>
          </a:xfrm>
          <a:prstGeom prst="rect">
            <a:avLst/>
          </a:prstGeom>
          <a:solidFill>
            <a:srgbClr val="406B9B"/>
          </a:solidFill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FFFFFF"/>
                </a:solidFill>
                <a:latin typeface="Century Gothic" panose="020B0502020202020204" pitchFamily="34" charset="0"/>
              </a:rPr>
              <a:t>INCONTRO TRA STARTUP E AZIEND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901222" y="4825917"/>
            <a:ext cx="4318213" cy="3504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003A79"/>
                </a:solidFill>
                <a:latin typeface="Century Gothic" panose="020B0502020202020204" pitchFamily="34" charset="0"/>
              </a:rPr>
              <a:t>OPPORTUNITÀ: CONCLUSIONE ACCORDI</a:t>
            </a:r>
          </a:p>
        </p:txBody>
      </p:sp>
      <p:cxnSp>
        <p:nvCxnSpPr>
          <p:cNvPr id="15" name="Connettore 1 14"/>
          <p:cNvCxnSpPr/>
          <p:nvPr/>
        </p:nvCxnSpPr>
        <p:spPr>
          <a:xfrm>
            <a:off x="6852296" y="5247417"/>
            <a:ext cx="4334284" cy="0"/>
          </a:xfrm>
          <a:prstGeom prst="line">
            <a:avLst/>
          </a:prstGeom>
          <a:ln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ttangolo 26"/>
          <p:cNvSpPr/>
          <p:nvPr/>
        </p:nvSpPr>
        <p:spPr>
          <a:xfrm>
            <a:off x="6785914" y="5258180"/>
            <a:ext cx="4517752" cy="3504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003A79"/>
                </a:solidFill>
                <a:latin typeface="Century Gothic" panose="020B0502020202020204" pitchFamily="34" charset="0"/>
              </a:rPr>
              <a:t>Commerciali </a:t>
            </a:r>
            <a:r>
              <a:rPr lang="it-IT" sz="1632">
                <a:solidFill>
                  <a:srgbClr val="003A79"/>
                </a:solidFill>
                <a:latin typeface="Century Gothic" panose="020B0502020202020204" pitchFamily="34" charset="0"/>
              </a:rPr>
              <a:t>|</a:t>
            </a:r>
            <a:r>
              <a:rPr lang="it-IT" sz="1632" b="1">
                <a:solidFill>
                  <a:srgbClr val="003A79"/>
                </a:solidFill>
                <a:latin typeface="Century Gothic" panose="020B0502020202020204" pitchFamily="34" charset="0"/>
              </a:rPr>
              <a:t> Investimenti </a:t>
            </a:r>
            <a:r>
              <a:rPr lang="it-IT" sz="1632">
                <a:solidFill>
                  <a:srgbClr val="003A79"/>
                </a:solidFill>
                <a:latin typeface="Century Gothic" panose="020B0502020202020204" pitchFamily="34" charset="0"/>
              </a:rPr>
              <a:t>|</a:t>
            </a:r>
            <a:r>
              <a:rPr lang="it-IT" sz="1632" b="1">
                <a:solidFill>
                  <a:srgbClr val="003A79"/>
                </a:solidFill>
                <a:latin typeface="Century Gothic" panose="020B0502020202020204" pitchFamily="34" charset="0"/>
              </a:rPr>
              <a:t> Acquisizioni</a:t>
            </a:r>
          </a:p>
        </p:txBody>
      </p:sp>
      <p:grpSp>
        <p:nvGrpSpPr>
          <p:cNvPr id="2" name="Gruppo 1"/>
          <p:cNvGrpSpPr/>
          <p:nvPr/>
        </p:nvGrpSpPr>
        <p:grpSpPr>
          <a:xfrm>
            <a:off x="8804822" y="2553368"/>
            <a:ext cx="429233" cy="191085"/>
            <a:chOff x="7896115" y="2716892"/>
            <a:chExt cx="420688" cy="187281"/>
          </a:xfrm>
        </p:grpSpPr>
        <p:sp>
          <p:nvSpPr>
            <p:cNvPr id="25" name="Isosceles Triangle 20">
              <a:extLst>
                <a:ext uri="{FF2B5EF4-FFF2-40B4-BE49-F238E27FC236}">
                  <a16:creationId xmlns:a16="http://schemas.microsoft.com/office/drawing/2014/main" id="{68F2A6DC-F759-4E85-9B85-D47DE7040CC9}"/>
                </a:ext>
              </a:extLst>
            </p:cNvPr>
            <p:cNvSpPr/>
            <p:nvPr/>
          </p:nvSpPr>
          <p:spPr bwMode="gray">
            <a:xfrm rot="10800000">
              <a:off x="7896115" y="2774520"/>
              <a:ext cx="420688" cy="129653"/>
            </a:xfrm>
            <a:prstGeom prst="triangl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Isosceles Triangle 21">
              <a:extLst>
                <a:ext uri="{FF2B5EF4-FFF2-40B4-BE49-F238E27FC236}">
                  <a16:creationId xmlns:a16="http://schemas.microsoft.com/office/drawing/2014/main" id="{68B6C533-471F-472E-9A5C-F342A0EF6BE6}"/>
                </a:ext>
              </a:extLst>
            </p:cNvPr>
            <p:cNvSpPr/>
            <p:nvPr/>
          </p:nvSpPr>
          <p:spPr bwMode="gray">
            <a:xfrm rot="10800000">
              <a:off x="7919942" y="2716892"/>
              <a:ext cx="369642" cy="113921"/>
            </a:xfrm>
            <a:prstGeom prst="triangle">
              <a:avLst/>
            </a:prstGeom>
            <a:solidFill>
              <a:schemeClr val="accent4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9" name="Gruppo 28"/>
          <p:cNvGrpSpPr/>
          <p:nvPr/>
        </p:nvGrpSpPr>
        <p:grpSpPr>
          <a:xfrm>
            <a:off x="8804822" y="3512019"/>
            <a:ext cx="429233" cy="191085"/>
            <a:chOff x="7896115" y="2716892"/>
            <a:chExt cx="420688" cy="187281"/>
          </a:xfrm>
        </p:grpSpPr>
        <p:sp>
          <p:nvSpPr>
            <p:cNvPr id="30" name="Isosceles Triangle 20">
              <a:extLst>
                <a:ext uri="{FF2B5EF4-FFF2-40B4-BE49-F238E27FC236}">
                  <a16:creationId xmlns:a16="http://schemas.microsoft.com/office/drawing/2014/main" id="{68F2A6DC-F759-4E85-9B85-D47DE7040CC9}"/>
                </a:ext>
              </a:extLst>
            </p:cNvPr>
            <p:cNvSpPr/>
            <p:nvPr/>
          </p:nvSpPr>
          <p:spPr bwMode="gray">
            <a:xfrm rot="10800000">
              <a:off x="7896115" y="2774520"/>
              <a:ext cx="420688" cy="129653"/>
            </a:xfrm>
            <a:prstGeom prst="triangl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Isosceles Triangle 21">
              <a:extLst>
                <a:ext uri="{FF2B5EF4-FFF2-40B4-BE49-F238E27FC236}">
                  <a16:creationId xmlns:a16="http://schemas.microsoft.com/office/drawing/2014/main" id="{68B6C533-471F-472E-9A5C-F342A0EF6BE6}"/>
                </a:ext>
              </a:extLst>
            </p:cNvPr>
            <p:cNvSpPr/>
            <p:nvPr/>
          </p:nvSpPr>
          <p:spPr bwMode="gray">
            <a:xfrm rot="10800000">
              <a:off x="7919942" y="2716892"/>
              <a:ext cx="369642" cy="113921"/>
            </a:xfrm>
            <a:prstGeom prst="triangle">
              <a:avLst/>
            </a:prstGeom>
            <a:solidFill>
              <a:schemeClr val="accent4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Gruppo 31"/>
          <p:cNvGrpSpPr/>
          <p:nvPr/>
        </p:nvGrpSpPr>
        <p:grpSpPr>
          <a:xfrm>
            <a:off x="8804822" y="4472787"/>
            <a:ext cx="429233" cy="191085"/>
            <a:chOff x="7896115" y="2716892"/>
            <a:chExt cx="420688" cy="187281"/>
          </a:xfrm>
        </p:grpSpPr>
        <p:sp>
          <p:nvSpPr>
            <p:cNvPr id="33" name="Isosceles Triangle 20">
              <a:extLst>
                <a:ext uri="{FF2B5EF4-FFF2-40B4-BE49-F238E27FC236}">
                  <a16:creationId xmlns:a16="http://schemas.microsoft.com/office/drawing/2014/main" id="{68F2A6DC-F759-4E85-9B85-D47DE7040CC9}"/>
                </a:ext>
              </a:extLst>
            </p:cNvPr>
            <p:cNvSpPr/>
            <p:nvPr/>
          </p:nvSpPr>
          <p:spPr bwMode="gray">
            <a:xfrm rot="10800000">
              <a:off x="7896115" y="2774520"/>
              <a:ext cx="420688" cy="129653"/>
            </a:xfrm>
            <a:prstGeom prst="triangl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Isosceles Triangle 21">
              <a:extLst>
                <a:ext uri="{FF2B5EF4-FFF2-40B4-BE49-F238E27FC236}">
                  <a16:creationId xmlns:a16="http://schemas.microsoft.com/office/drawing/2014/main" id="{68B6C533-471F-472E-9A5C-F342A0EF6BE6}"/>
                </a:ext>
              </a:extLst>
            </p:cNvPr>
            <p:cNvSpPr/>
            <p:nvPr/>
          </p:nvSpPr>
          <p:spPr bwMode="gray">
            <a:xfrm rot="10800000">
              <a:off x="7919942" y="2716892"/>
              <a:ext cx="369642" cy="113921"/>
            </a:xfrm>
            <a:prstGeom prst="triangle">
              <a:avLst/>
            </a:prstGeom>
            <a:solidFill>
              <a:schemeClr val="accent4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0" err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err="1"/>
              <a:t>Tech</a:t>
            </a:r>
            <a:r>
              <a:rPr lang="it-IT"/>
              <a:t> </a:t>
            </a:r>
            <a:r>
              <a:rPr lang="it-IT" err="1"/>
              <a:t>Scouting</a:t>
            </a: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260737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C8E06C-C906-4ACC-BD55-86E6D06DBD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9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C8E06C-C906-4ACC-BD55-86E6D06D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E12B6D-88BE-4300-8EBA-1DCD497E8A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2143" b="1" err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531366" y="988474"/>
            <a:ext cx="10923252" cy="60672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just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>
                <a:solidFill>
                  <a:srgbClr val="000000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Servizio di Business Development a supporto di Startup e PMI innovative nella ricerca di opportunità di business, di capitali e partnership industriali</a:t>
            </a:r>
          </a:p>
        </p:txBody>
      </p:sp>
      <p:graphicFrame>
        <p:nvGraphicFramePr>
          <p:cNvPr id="26" name="Chart 47">
            <a:extLst>
              <a:ext uri="{FF2B5EF4-FFF2-40B4-BE49-F238E27FC236}">
                <a16:creationId xmlns:a16="http://schemas.microsoft.com/office/drawing/2014/main" id="{D2DB04EB-BC75-41A3-8D50-1D0F2B9C175A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716528" y="2026655"/>
          <a:ext cx="3931121" cy="3931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27" name="Graphic 113">
            <a:extLst>
              <a:ext uri="{FF2B5EF4-FFF2-40B4-BE49-F238E27FC236}">
                <a16:creationId xmlns:a16="http://schemas.microsoft.com/office/drawing/2014/main" id="{A67E6CA9-983C-491A-8253-277EEC56B9C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21861" y="5033658"/>
            <a:ext cx="476205" cy="476205"/>
          </a:xfrm>
          <a:prstGeom prst="rect">
            <a:avLst/>
          </a:prstGeom>
        </p:spPr>
      </p:pic>
      <p:pic>
        <p:nvPicPr>
          <p:cNvPr id="28" name="Graphic 421888">
            <a:extLst>
              <a:ext uri="{FF2B5EF4-FFF2-40B4-BE49-F238E27FC236}">
                <a16:creationId xmlns:a16="http://schemas.microsoft.com/office/drawing/2014/main" id="{F5FA60F0-8ECD-4AF0-8E21-271DE72F38F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536" y="3584226"/>
            <a:ext cx="649518" cy="649518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5240588" y="3694890"/>
            <a:ext cx="1503938" cy="594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Energy &amp; 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Infrastructure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5747059" y="1877005"/>
            <a:ext cx="1874802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Industrial &amp; Space Economy</a:t>
            </a:r>
          </a:p>
        </p:txBody>
      </p:sp>
      <p:sp>
        <p:nvSpPr>
          <p:cNvPr id="29" name="Rettangolo 28"/>
          <p:cNvSpPr/>
          <p:nvPr/>
        </p:nvSpPr>
        <p:spPr>
          <a:xfrm>
            <a:off x="9951709" y="1877047"/>
            <a:ext cx="1027845" cy="594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Retail &amp;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Logistics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10514587" y="3694890"/>
            <a:ext cx="1686359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Sustainability</a:t>
            </a: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 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&amp; </a:t>
            </a: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Materials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Rettangolo 30"/>
          <p:cNvSpPr/>
          <p:nvPr/>
        </p:nvSpPr>
        <p:spPr>
          <a:xfrm>
            <a:off x="9685610" y="5671540"/>
            <a:ext cx="1293944" cy="343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AI &amp; Digital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ttangolo 31"/>
          <p:cNvSpPr/>
          <p:nvPr/>
        </p:nvSpPr>
        <p:spPr>
          <a:xfrm>
            <a:off x="6151725" y="5648643"/>
            <a:ext cx="1495922" cy="594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Agriculture</a:t>
            </a: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 &amp;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Food</a:t>
            </a:r>
            <a:endParaRPr lang="it-IT" sz="1632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33" name="image10.png" descr="image13.png">
            <a:extLst>
              <a:ext uri="{FF2B5EF4-FFF2-40B4-BE49-F238E27FC236}">
                <a16:creationId xmlns:a16="http://schemas.microsoft.com/office/drawing/2014/main" id="{CA30E65B-0D46-4A86-97FC-D02F0DAF6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0379" y="2399393"/>
            <a:ext cx="525859" cy="528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6096" y="2379887"/>
            <a:ext cx="687812" cy="640120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6218" y="3674003"/>
            <a:ext cx="700821" cy="652227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6096" y="4868123"/>
            <a:ext cx="731086" cy="680394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00" y="4922170"/>
            <a:ext cx="781800" cy="726473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911" y="2043834"/>
            <a:ext cx="781800" cy="726473"/>
          </a:xfrm>
          <a:prstGeom prst="rect">
            <a:avLst/>
          </a:prstGeom>
        </p:spPr>
      </p:pic>
      <p:sp>
        <p:nvSpPr>
          <p:cNvPr id="35" name="Rettangolo 34">
            <a:extLst>
              <a:ext uri="{FF2B5EF4-FFF2-40B4-BE49-F238E27FC236}">
                <a16:creationId xmlns:a16="http://schemas.microsoft.com/office/drawing/2014/main" id="{67CFE212-AE76-4CB3-84FA-912B6C19F5BA}"/>
              </a:ext>
            </a:extLst>
          </p:cNvPr>
          <p:cNvSpPr/>
          <p:nvPr/>
        </p:nvSpPr>
        <p:spPr>
          <a:xfrm>
            <a:off x="1264415" y="2229938"/>
            <a:ext cx="3435710" cy="4451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Criteri di selezione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Blip>
                <a:blip r:embed="rId20"/>
              </a:buBlip>
            </a:pPr>
            <a:endParaRPr lang="it-IT" sz="1632" b="1">
              <a:solidFill>
                <a:srgbClr val="406B9B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Startup e PMI innovative</a:t>
            </a: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Cross </a:t>
            </a:r>
            <a:r>
              <a:rPr lang="it-IT" sz="1632" b="1" err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industry</a:t>
            </a:r>
            <a:endParaRPr lang="it-IT" sz="1632" b="1">
              <a:solidFill>
                <a:srgbClr val="406B9B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B2B</a:t>
            </a: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Livello minimo maturità tecnologia TRL7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it-IT" sz="1632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b="1">
              <a:solidFill>
                <a:srgbClr val="003A79">
                  <a:lumMod val="60000"/>
                  <a:lumOff val="40000"/>
                </a:srgbClr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003A79">
                  <a:lumMod val="60000"/>
                  <a:lumOff val="40000"/>
                </a:srgbClr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2041" b="1">
              <a:solidFill>
                <a:srgbClr val="C0CCE4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2041" b="1">
                <a:solidFill>
                  <a:srgbClr val="003A79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Portafoglio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sz="1632">
              <a:solidFill>
                <a:srgbClr val="406B9B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66 startup/PMI</a:t>
            </a:r>
          </a:p>
          <a:p>
            <a:pPr marL="184649" lvl="1" indent="-184649" defTabSz="93296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it-IT" sz="1632" b="1">
                <a:solidFill>
                  <a:srgbClr val="406B9B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6 ambiti di raggruppamento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it-IT" sz="1632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cxnSp>
        <p:nvCxnSpPr>
          <p:cNvPr id="38" name="Connettore 4 37"/>
          <p:cNvCxnSpPr/>
          <p:nvPr/>
        </p:nvCxnSpPr>
        <p:spPr>
          <a:xfrm rot="16200000" flipH="1">
            <a:off x="974908" y="2680495"/>
            <a:ext cx="167398" cy="411616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4 38"/>
          <p:cNvCxnSpPr/>
          <p:nvPr/>
        </p:nvCxnSpPr>
        <p:spPr>
          <a:xfrm rot="16200000" flipH="1">
            <a:off x="978099" y="2915007"/>
            <a:ext cx="167398" cy="411616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4 39"/>
          <p:cNvCxnSpPr/>
          <p:nvPr/>
        </p:nvCxnSpPr>
        <p:spPr>
          <a:xfrm rot="16200000" flipH="1">
            <a:off x="969730" y="3159018"/>
            <a:ext cx="184139" cy="411616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4 40"/>
          <p:cNvCxnSpPr/>
          <p:nvPr/>
        </p:nvCxnSpPr>
        <p:spPr>
          <a:xfrm rot="16200000" flipH="1">
            <a:off x="969731" y="3412730"/>
            <a:ext cx="184139" cy="411616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4 41"/>
          <p:cNvCxnSpPr/>
          <p:nvPr/>
        </p:nvCxnSpPr>
        <p:spPr>
          <a:xfrm rot="16200000" flipH="1">
            <a:off x="934554" y="5594333"/>
            <a:ext cx="200445" cy="389870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4 42"/>
          <p:cNvCxnSpPr/>
          <p:nvPr/>
        </p:nvCxnSpPr>
        <p:spPr>
          <a:xfrm rot="16200000" flipH="1">
            <a:off x="968478" y="5850041"/>
            <a:ext cx="167398" cy="411616"/>
          </a:xfrm>
          <a:prstGeom prst="bentConnector2">
            <a:avLst/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4 43"/>
          <p:cNvCxnSpPr>
            <a:cxnSpLocks/>
          </p:cNvCxnSpPr>
          <p:nvPr/>
        </p:nvCxnSpPr>
        <p:spPr>
          <a:xfrm flipV="1">
            <a:off x="4608203" y="4800572"/>
            <a:ext cx="1264770" cy="1216399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olo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err="1"/>
              <a:t>Tech</a:t>
            </a:r>
            <a:r>
              <a:rPr lang="it-IT"/>
              <a:t> </a:t>
            </a:r>
            <a:r>
              <a:rPr lang="it-IT" err="1"/>
              <a:t>Matching</a:t>
            </a:r>
            <a:r>
              <a:rPr lang="it-I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044106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CasellaDiTesto 1">
            <a:extLst>
              <a:ext uri="{FF2B5EF4-FFF2-40B4-BE49-F238E27FC236}">
                <a16:creationId xmlns:a16="http://schemas.microsoft.com/office/drawing/2014/main" id="{F3CFC015-F51E-4BC2-9FFC-A55BAE385A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7134" y="3350733"/>
            <a:ext cx="6190722" cy="122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74930" indent="-174930" algn="just" defTabSz="932962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Sviluppo tecnologico</a:t>
            </a: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: ricerca di potenziali partner      </a:t>
            </a:r>
          </a:p>
          <a:p>
            <a:pPr marL="0" indent="0" algn="just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   tecnologici per </a:t>
            </a:r>
            <a:r>
              <a:rPr lang="it-IT" altLang="it-IT" sz="1428" err="1">
                <a:solidFill>
                  <a:srgbClr val="000000"/>
                </a:solidFill>
                <a:latin typeface="Century Gothic" panose="020B0502020202020204" pitchFamily="34" charset="0"/>
              </a:rPr>
              <a:t>industry</a:t>
            </a: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di </a:t>
            </a:r>
            <a:r>
              <a:rPr lang="it-IT" altLang="it-IT" sz="1428" err="1">
                <a:solidFill>
                  <a:srgbClr val="000000"/>
                </a:solidFill>
                <a:latin typeface="Century Gothic" panose="020B0502020202020204" pitchFamily="34" charset="0"/>
              </a:rPr>
              <a:t>appartenza</a:t>
            </a:r>
            <a:endParaRPr lang="it-IT" altLang="it-IT" sz="1428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4930" indent="-174930" algn="just" defTabSz="932962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Sviluppo commerciale</a:t>
            </a:r>
          </a:p>
          <a:p>
            <a:pPr marL="174930" indent="-174930" algn="just" defTabSz="932962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Fund </a:t>
            </a:r>
            <a:r>
              <a:rPr lang="it-IT" altLang="it-IT" sz="1428" b="1" err="1">
                <a:solidFill>
                  <a:srgbClr val="406B9B"/>
                </a:solidFill>
                <a:latin typeface="Century Gothic" panose="020B0502020202020204" pitchFamily="34" charset="0"/>
              </a:rPr>
              <a:t>raising</a:t>
            </a:r>
            <a:r>
              <a:rPr lang="it-IT" alt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(VC, Private Equity, Business Angel, etc.)</a:t>
            </a:r>
          </a:p>
          <a:p>
            <a:pPr marL="174930" indent="-174930" algn="just" defTabSz="932962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428" b="1">
                <a:solidFill>
                  <a:srgbClr val="406B9B"/>
                </a:solidFill>
                <a:latin typeface="Century Gothic" panose="020B0502020202020204" pitchFamily="34" charset="0"/>
              </a:rPr>
              <a:t>Soft Landing Program </a:t>
            </a: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per ingresso in nuovi mercati</a:t>
            </a:r>
            <a:endParaRPr lang="it-IT" altLang="en-US" sz="1428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0723" name="CasellaDiTesto 1">
            <a:extLst>
              <a:ext uri="{FF2B5EF4-FFF2-40B4-BE49-F238E27FC236}">
                <a16:creationId xmlns:a16="http://schemas.microsoft.com/office/drawing/2014/main" id="{AA3D270E-C256-483E-914F-82DF01616B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7133" y="1969473"/>
            <a:ext cx="6256774" cy="991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404813" indent="-2063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indent="0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Clienti ISP e </a:t>
            </a:r>
            <a:r>
              <a:rPr lang="it-IT" altLang="it-IT" sz="1428" err="1">
                <a:solidFill>
                  <a:srgbClr val="000000"/>
                </a:solidFill>
                <a:latin typeface="Century Gothic" panose="020B0502020202020204" pitchFamily="34" charset="0"/>
              </a:rPr>
              <a:t>Prospect</a:t>
            </a:r>
            <a:r>
              <a:rPr lang="it-IT" altLang="it-IT" sz="1428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</a:p>
          <a:p>
            <a:pPr marL="291551" lvl="1" indent="-291551" defTabSz="932962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</a:pPr>
            <a:r>
              <a:rPr lang="it-IT" altLang="en-US" sz="1428" b="1">
                <a:solidFill>
                  <a:srgbClr val="406B9B"/>
                </a:solidFill>
                <a:latin typeface="Century Gothic" panose="020B0502020202020204" pitchFamily="34" charset="0"/>
              </a:rPr>
              <a:t>Corporate</a:t>
            </a:r>
          </a:p>
          <a:p>
            <a:pPr marL="291551" lvl="1" indent="-291551" defTabSz="932962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</a:pPr>
            <a:r>
              <a:rPr lang="it-IT" altLang="en-US" sz="1428" b="1">
                <a:solidFill>
                  <a:srgbClr val="406B9B"/>
                </a:solidFill>
                <a:latin typeface="Century Gothic" panose="020B0502020202020204" pitchFamily="34" charset="0"/>
              </a:rPr>
              <a:t>PMI</a:t>
            </a:r>
          </a:p>
          <a:p>
            <a:pPr marL="291551" lvl="1" indent="-291551" defTabSz="932962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</a:pPr>
            <a:r>
              <a:rPr lang="it-IT" altLang="en-US" sz="1428" b="1">
                <a:solidFill>
                  <a:srgbClr val="406B9B"/>
                </a:solidFill>
                <a:latin typeface="Century Gothic" panose="020B0502020202020204" pitchFamily="34" charset="0"/>
              </a:rPr>
              <a:t>Startup</a:t>
            </a:r>
          </a:p>
        </p:txBody>
      </p:sp>
      <p:sp>
        <p:nvSpPr>
          <p:cNvPr id="30724" name="CasellaDiTesto 1">
            <a:extLst>
              <a:ext uri="{FF2B5EF4-FFF2-40B4-BE49-F238E27FC236}">
                <a16:creationId xmlns:a16="http://schemas.microsoft.com/office/drawing/2014/main" id="{91165498-177D-4333-B381-35BCBF5481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0747" y="6030116"/>
            <a:ext cx="1232016" cy="542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96850" indent="-1968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indent="0"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632" b="1">
                <a:solidFill>
                  <a:srgbClr val="406B9B"/>
                </a:solidFill>
                <a:latin typeface="Century Gothic" panose="020B0502020202020204" pitchFamily="34" charset="0"/>
              </a:rPr>
              <a:t>USA</a:t>
            </a:r>
            <a:endParaRPr lang="it-IT" altLang="en-US" sz="1428" b="1">
              <a:solidFill>
                <a:srgbClr val="406B9B"/>
              </a:solidFill>
              <a:latin typeface="Century Gothic" panose="020B0502020202020204" pitchFamily="34" charset="0"/>
            </a:endParaRPr>
          </a:p>
          <a:p>
            <a:pPr marL="0" indent="0"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224">
                <a:solidFill>
                  <a:srgbClr val="000000"/>
                </a:solidFill>
                <a:latin typeface="Century Gothic" panose="020B0502020202020204" pitchFamily="34" charset="0"/>
              </a:rPr>
              <a:t>(New York)</a:t>
            </a:r>
          </a:p>
        </p:txBody>
      </p:sp>
      <p:sp>
        <p:nvSpPr>
          <p:cNvPr id="30725" name="CasellaDiTesto 1">
            <a:extLst>
              <a:ext uri="{FF2B5EF4-FFF2-40B4-BE49-F238E27FC236}">
                <a16:creationId xmlns:a16="http://schemas.microsoft.com/office/drawing/2014/main" id="{3D246280-94B9-4254-A5E4-0E70D3FFD9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801" y="2438024"/>
            <a:ext cx="1040000" cy="38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837" b="1">
                <a:solidFill>
                  <a:srgbClr val="406B9B"/>
                </a:solidFill>
                <a:latin typeface="Century Gothic" panose="020B0502020202020204" pitchFamily="34" charset="0"/>
              </a:rPr>
              <a:t>Target</a:t>
            </a:r>
            <a:endParaRPr lang="it-IT" altLang="en-US" sz="1837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30726" name="CasellaDiTesto 1">
            <a:extLst>
              <a:ext uri="{FF2B5EF4-FFF2-40B4-BE49-F238E27FC236}">
                <a16:creationId xmlns:a16="http://schemas.microsoft.com/office/drawing/2014/main" id="{8E8A762D-C0B3-4890-837F-B0C50961D8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513" y="4030971"/>
            <a:ext cx="1336579" cy="38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837" b="1">
                <a:solidFill>
                  <a:srgbClr val="406B9B"/>
                </a:solidFill>
                <a:latin typeface="Century Gothic" panose="020B0502020202020204" pitchFamily="34" charset="0"/>
              </a:rPr>
              <a:t>Obiettivi</a:t>
            </a:r>
            <a:endParaRPr lang="it-IT" altLang="en-US" sz="1837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30727" name="CasellaDiTesto 1">
            <a:extLst>
              <a:ext uri="{FF2B5EF4-FFF2-40B4-BE49-F238E27FC236}">
                <a16:creationId xmlns:a16="http://schemas.microsoft.com/office/drawing/2014/main" id="{522477EF-FBA1-4BB9-8CC8-9D11F860EE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91" y="5783789"/>
            <a:ext cx="1165221" cy="38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837" b="1">
                <a:solidFill>
                  <a:srgbClr val="406B9B"/>
                </a:solidFill>
                <a:latin typeface="Century Gothic" panose="020B0502020202020204" pitchFamily="34" charset="0"/>
              </a:rPr>
              <a:t>Mercati</a:t>
            </a:r>
            <a:endParaRPr lang="it-IT" altLang="en-US" sz="2041" b="1">
              <a:solidFill>
                <a:srgbClr val="406B9B"/>
              </a:solidFill>
              <a:latin typeface="Century Gothic" panose="020B0502020202020204" pitchFamily="34" charset="0"/>
            </a:endParaRPr>
          </a:p>
        </p:txBody>
      </p:sp>
      <p:sp>
        <p:nvSpPr>
          <p:cNvPr id="30729" name="Rettangolo 1">
            <a:extLst>
              <a:ext uri="{FF2B5EF4-FFF2-40B4-BE49-F238E27FC236}">
                <a16:creationId xmlns:a16="http://schemas.microsoft.com/office/drawing/2014/main" id="{796ABF64-6353-42B0-BBA7-AC2F2694D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367" y="866458"/>
            <a:ext cx="11341328" cy="84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Il </a:t>
            </a:r>
            <a:r>
              <a:rPr lang="it-IT" altLang="it-IT" sz="1632" b="1">
                <a:solidFill>
                  <a:srgbClr val="406B9B"/>
                </a:solidFill>
                <a:latin typeface="Century Gothic" panose="020B0502020202020204" pitchFamily="34" charset="0"/>
              </a:rPr>
              <a:t>Tech Tour </a:t>
            </a: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è un programma di accompagnamento per startup e imprese negli </a:t>
            </a:r>
            <a:r>
              <a:rPr lang="it-IT" altLang="it-IT" sz="1632" b="1">
                <a:solidFill>
                  <a:srgbClr val="406B9B"/>
                </a:solidFill>
                <a:latin typeface="Century Gothic" panose="020B0502020202020204" pitchFamily="34" charset="0"/>
              </a:rPr>
              <a:t>ecosistemi internazionali </a:t>
            </a: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a forte crescita in termini di </a:t>
            </a:r>
            <a:r>
              <a:rPr lang="it-IT" altLang="it-IT" sz="1632" b="1">
                <a:solidFill>
                  <a:srgbClr val="406B9B"/>
                </a:solidFill>
                <a:latin typeface="Century Gothic" panose="020B0502020202020204" pitchFamily="34" charset="0"/>
              </a:rPr>
              <a:t>innovazione</a:t>
            </a:r>
            <a:r>
              <a:rPr lang="it-IT" altLang="it-IT" sz="1632" b="1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finalizzato a generare nuove opportunità di business e di investimento per le </a:t>
            </a:r>
            <a:r>
              <a:rPr lang="it-IT" altLang="it-IT" sz="1632" b="1">
                <a:solidFill>
                  <a:srgbClr val="406B9B"/>
                </a:solidFill>
                <a:latin typeface="Century Gothic" panose="020B0502020202020204" pitchFamily="34" charset="0"/>
              </a:rPr>
              <a:t>imprese clienti </a:t>
            </a: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e </a:t>
            </a:r>
            <a:r>
              <a:rPr lang="it-IT" altLang="it-IT" sz="1632" b="1" err="1">
                <a:solidFill>
                  <a:srgbClr val="406B9B"/>
                </a:solidFill>
                <a:latin typeface="Century Gothic" panose="020B0502020202020204" pitchFamily="34" charset="0"/>
              </a:rPr>
              <a:t>prospect</a:t>
            </a:r>
            <a:r>
              <a:rPr lang="it-IT" altLang="it-IT" sz="1632" b="1">
                <a:solidFill>
                  <a:srgbClr val="406B9B"/>
                </a:solidFill>
                <a:latin typeface="Century Gothic" panose="020B0502020202020204" pitchFamily="34" charset="0"/>
              </a:rPr>
              <a:t> del Gruppo </a:t>
            </a:r>
            <a:r>
              <a:rPr lang="it-IT" altLang="it-IT" sz="1632">
                <a:solidFill>
                  <a:srgbClr val="000000"/>
                </a:solidFill>
                <a:latin typeface="Century Gothic" panose="020B0502020202020204" pitchFamily="34" charset="0"/>
              </a:rPr>
              <a:t>con chiari obiettivi di internazionalizzazione e di sviluppo tecnologico</a:t>
            </a:r>
            <a:endParaRPr lang="it-IT" altLang="en-US" sz="1632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5" name="Elemento grafico 6">
            <a:extLst>
              <a:ext uri="{FF2B5EF4-FFF2-40B4-BE49-F238E27FC236}">
                <a16:creationId xmlns:a16="http://schemas.microsoft.com/office/drawing/2014/main" id="{C9906CC2-5973-467F-B758-94710582D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3684" y="1921597"/>
            <a:ext cx="646235" cy="64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Elemento grafico 6">
            <a:extLst>
              <a:ext uri="{FF2B5EF4-FFF2-40B4-BE49-F238E27FC236}">
                <a16:creationId xmlns:a16="http://schemas.microsoft.com/office/drawing/2014/main" id="{C9906CC2-5973-467F-B758-94710582D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3684" y="5181820"/>
            <a:ext cx="646235" cy="644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45" name="Gruppo 30744"/>
          <p:cNvGrpSpPr/>
          <p:nvPr/>
        </p:nvGrpSpPr>
        <p:grpSpPr>
          <a:xfrm>
            <a:off x="7725621" y="1741155"/>
            <a:ext cx="4361359" cy="4521329"/>
            <a:chOff x="732201" y="1634064"/>
            <a:chExt cx="3608317" cy="3740666"/>
          </a:xfrm>
        </p:grpSpPr>
        <p:pic>
          <p:nvPicPr>
            <p:cNvPr id="30730" name="Immagine 30729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201" y="1634064"/>
              <a:ext cx="3608317" cy="3740666"/>
            </a:xfrm>
            <a:prstGeom prst="rect">
              <a:avLst/>
            </a:prstGeom>
          </p:spPr>
        </p:pic>
        <p:sp>
          <p:nvSpPr>
            <p:cNvPr id="70" name="Ovale 69">
              <a:extLst>
                <a:ext uri="{FF2B5EF4-FFF2-40B4-BE49-F238E27FC236}">
                  <a16:creationId xmlns:a16="http://schemas.microsoft.com/office/drawing/2014/main" id="{F91F7B9C-0B2D-476F-924E-CA3FF794B02A}"/>
                </a:ext>
              </a:extLst>
            </p:cNvPr>
            <p:cNvSpPr/>
            <p:nvPr/>
          </p:nvSpPr>
          <p:spPr>
            <a:xfrm rot="15225710" flipV="1">
              <a:off x="3055642" y="2161463"/>
              <a:ext cx="1049767" cy="105275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2" name="Ovale 71">
              <a:extLst>
                <a:ext uri="{FF2B5EF4-FFF2-40B4-BE49-F238E27FC236}">
                  <a16:creationId xmlns:a16="http://schemas.microsoft.com/office/drawing/2014/main" id="{F91F7B9C-0B2D-476F-924E-CA3FF794B02A}"/>
                </a:ext>
              </a:extLst>
            </p:cNvPr>
            <p:cNvSpPr/>
            <p:nvPr/>
          </p:nvSpPr>
          <p:spPr>
            <a:xfrm rot="15225710" flipV="1">
              <a:off x="3070784" y="3896343"/>
              <a:ext cx="1049767" cy="105275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6" name="Ovale 75">
              <a:extLst>
                <a:ext uri="{FF2B5EF4-FFF2-40B4-BE49-F238E27FC236}">
                  <a16:creationId xmlns:a16="http://schemas.microsoft.com/office/drawing/2014/main" id="{F91F7B9C-0B2D-476F-924E-CA3FF794B02A}"/>
                </a:ext>
              </a:extLst>
            </p:cNvPr>
            <p:cNvSpPr/>
            <p:nvPr/>
          </p:nvSpPr>
          <p:spPr>
            <a:xfrm rot="15225710" flipV="1">
              <a:off x="1033182" y="2161463"/>
              <a:ext cx="1049767" cy="105275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7" name="Picture 2" descr="Risultati immagini per gba innovation road">
              <a:extLst>
                <a:ext uri="{FF2B5EF4-FFF2-40B4-BE49-F238E27FC236}">
                  <a16:creationId xmlns:a16="http://schemas.microsoft.com/office/drawing/2014/main" id="{BD2BA841-F790-4EBD-9B1F-9CDD78FE3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2059" y="2619940"/>
              <a:ext cx="924642" cy="14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Ovale 77">
              <a:extLst>
                <a:ext uri="{FF2B5EF4-FFF2-40B4-BE49-F238E27FC236}">
                  <a16:creationId xmlns:a16="http://schemas.microsoft.com/office/drawing/2014/main" id="{F91F7B9C-0B2D-476F-924E-CA3FF794B02A}"/>
                </a:ext>
              </a:extLst>
            </p:cNvPr>
            <p:cNvSpPr/>
            <p:nvPr/>
          </p:nvSpPr>
          <p:spPr>
            <a:xfrm rot="15225710" flipV="1">
              <a:off x="1088855" y="3896343"/>
              <a:ext cx="1049767" cy="105275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96642" name="Picture 2" descr="2020 OurCrowd Global Investor Summit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327" y="4086987"/>
              <a:ext cx="990263" cy="743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6644" name="Picture 4" descr="StartIT.Asia 2019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77057" y="4185825"/>
              <a:ext cx="833109" cy="5087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" name="object 4">
              <a:extLst>
                <a:ext uri="{FF2B5EF4-FFF2-40B4-BE49-F238E27FC236}">
                  <a16:creationId xmlns:a16="http://schemas.microsoft.com/office/drawing/2014/main" id="{B463ECDA-9CD7-44C5-B01F-C946C4BA0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812" y="2533705"/>
              <a:ext cx="795065" cy="291642"/>
            </a:xfrm>
            <a:prstGeom prst="rect">
              <a:avLst/>
            </a:prstGeom>
            <a:blipFill dpi="0"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304761"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1200">
                <a:solidFill>
                  <a:prstClr val="black"/>
                </a:solidFill>
              </a:endParaRPr>
            </a:p>
          </p:txBody>
        </p:sp>
      </p:grpSp>
      <p:cxnSp>
        <p:nvCxnSpPr>
          <p:cNvPr id="30747" name="Connettore 1 30746"/>
          <p:cNvCxnSpPr>
            <a:cxnSpLocks/>
          </p:cNvCxnSpPr>
          <p:nvPr/>
        </p:nvCxnSpPr>
        <p:spPr>
          <a:xfrm>
            <a:off x="387564" y="3107682"/>
            <a:ext cx="71625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ttore 1 85"/>
          <p:cNvCxnSpPr>
            <a:cxnSpLocks/>
          </p:cNvCxnSpPr>
          <p:nvPr/>
        </p:nvCxnSpPr>
        <p:spPr>
          <a:xfrm>
            <a:off x="387564" y="4839552"/>
            <a:ext cx="71625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Elemento grafico 6">
            <a:extLst>
              <a:ext uri="{FF2B5EF4-FFF2-40B4-BE49-F238E27FC236}">
                <a16:creationId xmlns:a16="http://schemas.microsoft.com/office/drawing/2014/main" id="{C9906CC2-5973-467F-B758-94710582D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3684" y="3448850"/>
            <a:ext cx="646235" cy="64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6647" name="Connettore 1 496646"/>
          <p:cNvCxnSpPr/>
          <p:nvPr/>
        </p:nvCxnSpPr>
        <p:spPr>
          <a:xfrm>
            <a:off x="2011533" y="5503849"/>
            <a:ext cx="5053261" cy="0"/>
          </a:xfrm>
          <a:prstGeom prst="line">
            <a:avLst/>
          </a:prstGeom>
          <a:ln>
            <a:solidFill>
              <a:schemeClr val="accent1"/>
            </a:solidFill>
            <a:head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0" name="Immagine 3074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8073" y="4993200"/>
            <a:ext cx="1031906" cy="106971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0751" name="Immagine 30750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5604" y="4968992"/>
            <a:ext cx="1031906" cy="106971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96640" name="Immagine 49663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6444" y="4993199"/>
            <a:ext cx="1032694" cy="106971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96641" name="Immagine 496640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8914" y="4993201"/>
            <a:ext cx="1031906" cy="106971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96648" name="Rettangolo 496647"/>
          <p:cNvSpPr/>
          <p:nvPr/>
        </p:nvSpPr>
        <p:spPr>
          <a:xfrm>
            <a:off x="2361888" y="6007812"/>
            <a:ext cx="1332661" cy="7202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428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it-IT" altLang="en-US" sz="1632" b="1">
                <a:solidFill>
                  <a:srgbClr val="406B9B"/>
                </a:solidFill>
                <a:latin typeface="Century Gothic" panose="020B0502020202020204" pitchFamily="34" charset="0"/>
              </a:rPr>
              <a:t>Israele</a:t>
            </a:r>
            <a:r>
              <a:rPr lang="it-IT" altLang="en-US" sz="1632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endParaRPr lang="it-IT" altLang="en-US" sz="1428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224">
                <a:solidFill>
                  <a:srgbClr val="000000"/>
                </a:solidFill>
                <a:latin typeface="Century Gothic" panose="020B0502020202020204" pitchFamily="34" charset="0"/>
              </a:rPr>
              <a:t>(</a:t>
            </a:r>
            <a:r>
              <a:rPr lang="it-IT" altLang="en-US" sz="1224" err="1">
                <a:solidFill>
                  <a:srgbClr val="000000"/>
                </a:solidFill>
                <a:latin typeface="Century Gothic" panose="020B0502020202020204" pitchFamily="34" charset="0"/>
              </a:rPr>
              <a:t>Tel</a:t>
            </a:r>
            <a:r>
              <a:rPr lang="it-IT" altLang="en-US" sz="1224">
                <a:solidFill>
                  <a:srgbClr val="000000"/>
                </a:solidFill>
                <a:latin typeface="Century Gothic" panose="020B0502020202020204" pitchFamily="34" charset="0"/>
              </a:rPr>
              <a:t> Aviv Gerusalemme)</a:t>
            </a:r>
            <a:endParaRPr lang="it-IT" sz="122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96649" name="Rettangolo 496648"/>
          <p:cNvSpPr/>
          <p:nvPr/>
        </p:nvSpPr>
        <p:spPr>
          <a:xfrm>
            <a:off x="3934284" y="6014499"/>
            <a:ext cx="849185" cy="5426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632" b="1">
                <a:solidFill>
                  <a:srgbClr val="406B9B"/>
                </a:solidFill>
                <a:latin typeface="Century Gothic" panose="020B0502020202020204" pitchFamily="34" charset="0"/>
              </a:rPr>
              <a:t>UK</a:t>
            </a:r>
            <a:r>
              <a:rPr lang="it-IT" altLang="en-US" sz="1632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224">
                <a:solidFill>
                  <a:srgbClr val="000000"/>
                </a:solidFill>
                <a:latin typeface="Century Gothic" panose="020B0502020202020204" pitchFamily="34" charset="0"/>
              </a:rPr>
              <a:t>(Londra)</a:t>
            </a:r>
          </a:p>
        </p:txBody>
      </p:sp>
      <p:pic>
        <p:nvPicPr>
          <p:cNvPr id="98" name="Immagine 97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7588" y="5179021"/>
            <a:ext cx="744926" cy="772249"/>
          </a:xfrm>
          <a:prstGeom prst="rect">
            <a:avLst/>
          </a:prstGeom>
        </p:spPr>
      </p:pic>
      <p:sp>
        <p:nvSpPr>
          <p:cNvPr id="496650" name="Rettangolo 496649"/>
          <p:cNvSpPr/>
          <p:nvPr/>
        </p:nvSpPr>
        <p:spPr>
          <a:xfrm>
            <a:off x="4986075" y="6004946"/>
            <a:ext cx="1260840" cy="734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632" b="1">
                <a:solidFill>
                  <a:srgbClr val="406B9B"/>
                </a:solidFill>
                <a:latin typeface="Century Gothic" panose="020B0502020202020204" pitchFamily="34" charset="0"/>
              </a:rPr>
              <a:t>Cina</a:t>
            </a:r>
            <a:r>
              <a:rPr lang="it-IT" altLang="en-US" sz="1632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altLang="en-US" sz="1224">
                <a:solidFill>
                  <a:srgbClr val="000000"/>
                </a:solidFill>
                <a:latin typeface="Century Gothic" panose="020B0502020202020204" pitchFamily="34" charset="0"/>
              </a:rPr>
              <a:t>(Hong Kong, Shenzhen)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err="1"/>
              <a:t>Tech</a:t>
            </a:r>
            <a:r>
              <a:rPr lang="it-IT"/>
              <a:t> Tour</a:t>
            </a:r>
            <a:br>
              <a:rPr lang="it-IT"/>
            </a:b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874333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245" b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531367" y="366715"/>
            <a:ext cx="10363047" cy="416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/>
              <a:t>Tech Lab</a:t>
            </a:r>
          </a:p>
        </p:txBody>
      </p:sp>
      <p:sp>
        <p:nvSpPr>
          <p:cNvPr id="30" name="Rettangolo 1">
            <a:extLst>
              <a:ext uri="{FF2B5EF4-FFF2-40B4-BE49-F238E27FC236}">
                <a16:creationId xmlns:a16="http://schemas.microsoft.com/office/drawing/2014/main" id="{9F8A5DB0-339E-9543-B91E-1E97BC6DB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367" y="826491"/>
            <a:ext cx="11341328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it-IT" altLang="en-US" sz="2000">
              <a:solidFill>
                <a:srgbClr val="000000">
                  <a:lumMod val="50000"/>
                  <a:lumOff val="5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Figura a mano libera: forma 6">
            <a:extLst>
              <a:ext uri="{FF2B5EF4-FFF2-40B4-BE49-F238E27FC236}">
                <a16:creationId xmlns:a16="http://schemas.microsoft.com/office/drawing/2014/main" id="{57B2CB17-911A-4E96-86C8-154B30DD8497}"/>
              </a:ext>
            </a:extLst>
          </p:cNvPr>
          <p:cNvSpPr/>
          <p:nvPr/>
        </p:nvSpPr>
        <p:spPr>
          <a:xfrm>
            <a:off x="1650138" y="1178672"/>
            <a:ext cx="3301125" cy="883409"/>
          </a:xfrm>
          <a:custGeom>
            <a:avLst/>
            <a:gdLst>
              <a:gd name="connsiteX0" fmla="*/ 0 w 2475844"/>
              <a:gd name="connsiteY0" fmla="*/ 66256 h 662557"/>
              <a:gd name="connsiteX1" fmla="*/ 66256 w 2475844"/>
              <a:gd name="connsiteY1" fmla="*/ 0 h 662557"/>
              <a:gd name="connsiteX2" fmla="*/ 2409588 w 2475844"/>
              <a:gd name="connsiteY2" fmla="*/ 0 h 662557"/>
              <a:gd name="connsiteX3" fmla="*/ 2475844 w 2475844"/>
              <a:gd name="connsiteY3" fmla="*/ 66256 h 662557"/>
              <a:gd name="connsiteX4" fmla="*/ 2475844 w 2475844"/>
              <a:gd name="connsiteY4" fmla="*/ 596301 h 662557"/>
              <a:gd name="connsiteX5" fmla="*/ 2409588 w 2475844"/>
              <a:gd name="connsiteY5" fmla="*/ 662557 h 662557"/>
              <a:gd name="connsiteX6" fmla="*/ 66256 w 2475844"/>
              <a:gd name="connsiteY6" fmla="*/ 662557 h 662557"/>
              <a:gd name="connsiteX7" fmla="*/ 0 w 2475844"/>
              <a:gd name="connsiteY7" fmla="*/ 596301 h 662557"/>
              <a:gd name="connsiteX8" fmla="*/ 0 w 2475844"/>
              <a:gd name="connsiteY8" fmla="*/ 66256 h 662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844" h="662557">
                <a:moveTo>
                  <a:pt x="0" y="66256"/>
                </a:moveTo>
                <a:cubicBezTo>
                  <a:pt x="0" y="29664"/>
                  <a:pt x="29664" y="0"/>
                  <a:pt x="66256" y="0"/>
                </a:cubicBezTo>
                <a:lnTo>
                  <a:pt x="2409588" y="0"/>
                </a:lnTo>
                <a:cubicBezTo>
                  <a:pt x="2446180" y="0"/>
                  <a:pt x="2475844" y="29664"/>
                  <a:pt x="2475844" y="66256"/>
                </a:cubicBezTo>
                <a:lnTo>
                  <a:pt x="2475844" y="596301"/>
                </a:lnTo>
                <a:cubicBezTo>
                  <a:pt x="2475844" y="632893"/>
                  <a:pt x="2446180" y="662557"/>
                  <a:pt x="2409588" y="662557"/>
                </a:cubicBezTo>
                <a:lnTo>
                  <a:pt x="66256" y="662557"/>
                </a:lnTo>
                <a:cubicBezTo>
                  <a:pt x="29664" y="662557"/>
                  <a:pt x="0" y="632893"/>
                  <a:pt x="0" y="596301"/>
                </a:cubicBezTo>
                <a:lnTo>
                  <a:pt x="0" y="662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755" tIns="81755" rIns="81755" bIns="81755" numCol="1" spcCol="1270" anchor="ctr" anchorCtr="0">
            <a:noAutofit/>
          </a:bodyPr>
          <a:lstStyle/>
          <a:p>
            <a:pPr defTabSz="622284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it-IT" sz="1600" b="1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ZIONE PROGETTO                 DI RICERCA APPLICATA</a:t>
            </a:r>
          </a:p>
        </p:txBody>
      </p:sp>
      <p:sp>
        <p:nvSpPr>
          <p:cNvPr id="8" name="Figura a mano libera: forma 7">
            <a:extLst>
              <a:ext uri="{FF2B5EF4-FFF2-40B4-BE49-F238E27FC236}">
                <a16:creationId xmlns:a16="http://schemas.microsoft.com/office/drawing/2014/main" id="{8A52DD4B-269A-4A15-8EA1-6D8DD56D461A}"/>
              </a:ext>
            </a:extLst>
          </p:cNvPr>
          <p:cNvSpPr/>
          <p:nvPr/>
        </p:nvSpPr>
        <p:spPr>
          <a:xfrm>
            <a:off x="1650138" y="2520056"/>
            <a:ext cx="3233668" cy="883409"/>
          </a:xfrm>
          <a:custGeom>
            <a:avLst/>
            <a:gdLst>
              <a:gd name="connsiteX0" fmla="*/ 0 w 2425251"/>
              <a:gd name="connsiteY0" fmla="*/ 66256 h 662557"/>
              <a:gd name="connsiteX1" fmla="*/ 66256 w 2425251"/>
              <a:gd name="connsiteY1" fmla="*/ 0 h 662557"/>
              <a:gd name="connsiteX2" fmla="*/ 2358995 w 2425251"/>
              <a:gd name="connsiteY2" fmla="*/ 0 h 662557"/>
              <a:gd name="connsiteX3" fmla="*/ 2425251 w 2425251"/>
              <a:gd name="connsiteY3" fmla="*/ 66256 h 662557"/>
              <a:gd name="connsiteX4" fmla="*/ 2425251 w 2425251"/>
              <a:gd name="connsiteY4" fmla="*/ 596301 h 662557"/>
              <a:gd name="connsiteX5" fmla="*/ 2358995 w 2425251"/>
              <a:gd name="connsiteY5" fmla="*/ 662557 h 662557"/>
              <a:gd name="connsiteX6" fmla="*/ 66256 w 2425251"/>
              <a:gd name="connsiteY6" fmla="*/ 662557 h 662557"/>
              <a:gd name="connsiteX7" fmla="*/ 0 w 2425251"/>
              <a:gd name="connsiteY7" fmla="*/ 596301 h 662557"/>
              <a:gd name="connsiteX8" fmla="*/ 0 w 2425251"/>
              <a:gd name="connsiteY8" fmla="*/ 66256 h 662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25251" h="662557">
                <a:moveTo>
                  <a:pt x="0" y="66256"/>
                </a:moveTo>
                <a:cubicBezTo>
                  <a:pt x="0" y="29664"/>
                  <a:pt x="29664" y="0"/>
                  <a:pt x="66256" y="0"/>
                </a:cubicBezTo>
                <a:lnTo>
                  <a:pt x="2358995" y="0"/>
                </a:lnTo>
                <a:cubicBezTo>
                  <a:pt x="2395587" y="0"/>
                  <a:pt x="2425251" y="29664"/>
                  <a:pt x="2425251" y="66256"/>
                </a:cubicBezTo>
                <a:lnTo>
                  <a:pt x="2425251" y="596301"/>
                </a:lnTo>
                <a:cubicBezTo>
                  <a:pt x="2425251" y="632893"/>
                  <a:pt x="2395587" y="662557"/>
                  <a:pt x="2358995" y="662557"/>
                </a:cubicBezTo>
                <a:lnTo>
                  <a:pt x="66256" y="662557"/>
                </a:lnTo>
                <a:cubicBezTo>
                  <a:pt x="29664" y="662557"/>
                  <a:pt x="0" y="632893"/>
                  <a:pt x="0" y="596301"/>
                </a:cubicBezTo>
                <a:lnTo>
                  <a:pt x="0" y="662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755" tIns="81755" rIns="81755" bIns="81755" numCol="1" spcCol="1270" anchor="ctr" anchorCtr="0">
            <a:noAutofit/>
          </a:bodyPr>
          <a:lstStyle/>
          <a:p>
            <a:pPr defTabSz="622284" fontAlgn="base">
              <a:spcBef>
                <a:spcPct val="0"/>
              </a:spcBef>
              <a:spcAft>
                <a:spcPct val="35000"/>
              </a:spcAft>
              <a:defRPr/>
            </a:pPr>
            <a:r>
              <a:rPr lang="it-IT" sz="1600" b="1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TTIVAZIONE PROGETTO</a:t>
            </a:r>
          </a:p>
        </p:txBody>
      </p:sp>
      <p:sp>
        <p:nvSpPr>
          <p:cNvPr id="9" name="Figura a mano libera: forma 8">
            <a:extLst>
              <a:ext uri="{FF2B5EF4-FFF2-40B4-BE49-F238E27FC236}">
                <a16:creationId xmlns:a16="http://schemas.microsoft.com/office/drawing/2014/main" id="{57569D85-D785-4928-80E3-C07DE5066DCA}"/>
              </a:ext>
            </a:extLst>
          </p:cNvPr>
          <p:cNvSpPr/>
          <p:nvPr/>
        </p:nvSpPr>
        <p:spPr>
          <a:xfrm>
            <a:off x="983046" y="3505910"/>
            <a:ext cx="185453" cy="331277"/>
          </a:xfrm>
          <a:custGeom>
            <a:avLst/>
            <a:gdLst>
              <a:gd name="connsiteX0" fmla="*/ 0 w 248458"/>
              <a:gd name="connsiteY0" fmla="*/ 27818 h 139090"/>
              <a:gd name="connsiteX1" fmla="*/ 178913 w 248458"/>
              <a:gd name="connsiteY1" fmla="*/ 27818 h 139090"/>
              <a:gd name="connsiteX2" fmla="*/ 178913 w 248458"/>
              <a:gd name="connsiteY2" fmla="*/ 0 h 139090"/>
              <a:gd name="connsiteX3" fmla="*/ 248458 w 248458"/>
              <a:gd name="connsiteY3" fmla="*/ 69545 h 139090"/>
              <a:gd name="connsiteX4" fmla="*/ 178913 w 248458"/>
              <a:gd name="connsiteY4" fmla="*/ 139090 h 139090"/>
              <a:gd name="connsiteX5" fmla="*/ 178913 w 248458"/>
              <a:gd name="connsiteY5" fmla="*/ 111272 h 139090"/>
              <a:gd name="connsiteX6" fmla="*/ 0 w 248458"/>
              <a:gd name="connsiteY6" fmla="*/ 111272 h 139090"/>
              <a:gd name="connsiteX7" fmla="*/ 0 w 248458"/>
              <a:gd name="connsiteY7" fmla="*/ 27818 h 13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458" h="139090">
                <a:moveTo>
                  <a:pt x="198766" y="0"/>
                </a:moveTo>
                <a:lnTo>
                  <a:pt x="198766" y="100158"/>
                </a:lnTo>
                <a:lnTo>
                  <a:pt x="248457" y="100158"/>
                </a:lnTo>
                <a:lnTo>
                  <a:pt x="124229" y="139090"/>
                </a:lnTo>
                <a:lnTo>
                  <a:pt x="1" y="100158"/>
                </a:lnTo>
                <a:lnTo>
                  <a:pt x="49692" y="100158"/>
                </a:lnTo>
                <a:lnTo>
                  <a:pt x="49692" y="0"/>
                </a:lnTo>
                <a:lnTo>
                  <a:pt x="19876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091" tIns="1" rIns="37091" bIns="55635" numCol="1" spcCol="1270" anchor="ctr" anchorCtr="0">
            <a:noAutofit/>
          </a:bodyPr>
          <a:lstStyle/>
          <a:p>
            <a:pPr algn="ctr" defTabSz="829713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it-IT" sz="1867" b="1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0" name="Figura a mano libera: forma 9">
            <a:extLst>
              <a:ext uri="{FF2B5EF4-FFF2-40B4-BE49-F238E27FC236}">
                <a16:creationId xmlns:a16="http://schemas.microsoft.com/office/drawing/2014/main" id="{4C6499AE-95BC-414A-A663-01580AD93788}"/>
              </a:ext>
            </a:extLst>
          </p:cNvPr>
          <p:cNvSpPr/>
          <p:nvPr/>
        </p:nvSpPr>
        <p:spPr>
          <a:xfrm>
            <a:off x="1650138" y="3917927"/>
            <a:ext cx="3271901" cy="883409"/>
          </a:xfrm>
          <a:custGeom>
            <a:avLst/>
            <a:gdLst>
              <a:gd name="connsiteX0" fmla="*/ 0 w 2453926"/>
              <a:gd name="connsiteY0" fmla="*/ 66256 h 662557"/>
              <a:gd name="connsiteX1" fmla="*/ 66256 w 2453926"/>
              <a:gd name="connsiteY1" fmla="*/ 0 h 662557"/>
              <a:gd name="connsiteX2" fmla="*/ 2387670 w 2453926"/>
              <a:gd name="connsiteY2" fmla="*/ 0 h 662557"/>
              <a:gd name="connsiteX3" fmla="*/ 2453926 w 2453926"/>
              <a:gd name="connsiteY3" fmla="*/ 66256 h 662557"/>
              <a:gd name="connsiteX4" fmla="*/ 2453926 w 2453926"/>
              <a:gd name="connsiteY4" fmla="*/ 596301 h 662557"/>
              <a:gd name="connsiteX5" fmla="*/ 2387670 w 2453926"/>
              <a:gd name="connsiteY5" fmla="*/ 662557 h 662557"/>
              <a:gd name="connsiteX6" fmla="*/ 66256 w 2453926"/>
              <a:gd name="connsiteY6" fmla="*/ 662557 h 662557"/>
              <a:gd name="connsiteX7" fmla="*/ 0 w 2453926"/>
              <a:gd name="connsiteY7" fmla="*/ 596301 h 662557"/>
              <a:gd name="connsiteX8" fmla="*/ 0 w 2453926"/>
              <a:gd name="connsiteY8" fmla="*/ 66256 h 662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53926" h="662557">
                <a:moveTo>
                  <a:pt x="0" y="66256"/>
                </a:moveTo>
                <a:cubicBezTo>
                  <a:pt x="0" y="29664"/>
                  <a:pt x="29664" y="0"/>
                  <a:pt x="66256" y="0"/>
                </a:cubicBezTo>
                <a:lnTo>
                  <a:pt x="2387670" y="0"/>
                </a:lnTo>
                <a:cubicBezTo>
                  <a:pt x="2424262" y="0"/>
                  <a:pt x="2453926" y="29664"/>
                  <a:pt x="2453926" y="66256"/>
                </a:cubicBezTo>
                <a:lnTo>
                  <a:pt x="2453926" y="596301"/>
                </a:lnTo>
                <a:cubicBezTo>
                  <a:pt x="2453926" y="632893"/>
                  <a:pt x="2424262" y="662557"/>
                  <a:pt x="2387670" y="662557"/>
                </a:cubicBezTo>
                <a:lnTo>
                  <a:pt x="66256" y="662557"/>
                </a:lnTo>
                <a:cubicBezTo>
                  <a:pt x="29664" y="662557"/>
                  <a:pt x="0" y="632893"/>
                  <a:pt x="0" y="596301"/>
                </a:cubicBezTo>
                <a:lnTo>
                  <a:pt x="0" y="662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755" tIns="81755" rIns="81755" bIns="81755" numCol="1" spcCol="1270" anchor="ctr" anchorCtr="0">
            <a:noAutofit/>
          </a:bodyPr>
          <a:lstStyle/>
          <a:p>
            <a:pPr defTabSz="622284" fontAlgn="base">
              <a:lnSpc>
                <a:spcPts val="2133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it-IT" sz="1600" b="1">
              <a:solidFill>
                <a:prstClr val="black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defTabSz="622284" fontAlgn="base">
              <a:lnSpc>
                <a:spcPts val="2133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it-IT" sz="1600" b="1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ALIZZAZIONE PROGETTO</a:t>
            </a:r>
          </a:p>
          <a:p>
            <a:pPr defTabSz="711182" fontAlgn="base">
              <a:lnSpc>
                <a:spcPts val="2133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it-IT" sz="160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1" name="Figura a mano libera: forma 10">
            <a:extLst>
              <a:ext uri="{FF2B5EF4-FFF2-40B4-BE49-F238E27FC236}">
                <a16:creationId xmlns:a16="http://schemas.microsoft.com/office/drawing/2014/main" id="{2E84402B-985F-4CC8-8080-E338DC8E6633}"/>
              </a:ext>
            </a:extLst>
          </p:cNvPr>
          <p:cNvSpPr/>
          <p:nvPr/>
        </p:nvSpPr>
        <p:spPr>
          <a:xfrm>
            <a:off x="1650138" y="5178303"/>
            <a:ext cx="3131616" cy="883409"/>
          </a:xfrm>
          <a:custGeom>
            <a:avLst/>
            <a:gdLst>
              <a:gd name="connsiteX0" fmla="*/ 0 w 2348712"/>
              <a:gd name="connsiteY0" fmla="*/ 66256 h 662557"/>
              <a:gd name="connsiteX1" fmla="*/ 66256 w 2348712"/>
              <a:gd name="connsiteY1" fmla="*/ 0 h 662557"/>
              <a:gd name="connsiteX2" fmla="*/ 2282456 w 2348712"/>
              <a:gd name="connsiteY2" fmla="*/ 0 h 662557"/>
              <a:gd name="connsiteX3" fmla="*/ 2348712 w 2348712"/>
              <a:gd name="connsiteY3" fmla="*/ 66256 h 662557"/>
              <a:gd name="connsiteX4" fmla="*/ 2348712 w 2348712"/>
              <a:gd name="connsiteY4" fmla="*/ 596301 h 662557"/>
              <a:gd name="connsiteX5" fmla="*/ 2282456 w 2348712"/>
              <a:gd name="connsiteY5" fmla="*/ 662557 h 662557"/>
              <a:gd name="connsiteX6" fmla="*/ 66256 w 2348712"/>
              <a:gd name="connsiteY6" fmla="*/ 662557 h 662557"/>
              <a:gd name="connsiteX7" fmla="*/ 0 w 2348712"/>
              <a:gd name="connsiteY7" fmla="*/ 596301 h 662557"/>
              <a:gd name="connsiteX8" fmla="*/ 0 w 2348712"/>
              <a:gd name="connsiteY8" fmla="*/ 66256 h 662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8712" h="662557">
                <a:moveTo>
                  <a:pt x="0" y="66256"/>
                </a:moveTo>
                <a:cubicBezTo>
                  <a:pt x="0" y="29664"/>
                  <a:pt x="29664" y="0"/>
                  <a:pt x="66256" y="0"/>
                </a:cubicBezTo>
                <a:lnTo>
                  <a:pt x="2282456" y="0"/>
                </a:lnTo>
                <a:cubicBezTo>
                  <a:pt x="2319048" y="0"/>
                  <a:pt x="2348712" y="29664"/>
                  <a:pt x="2348712" y="66256"/>
                </a:cubicBezTo>
                <a:lnTo>
                  <a:pt x="2348712" y="596301"/>
                </a:lnTo>
                <a:cubicBezTo>
                  <a:pt x="2348712" y="632893"/>
                  <a:pt x="2319048" y="662557"/>
                  <a:pt x="2282456" y="662557"/>
                </a:cubicBezTo>
                <a:lnTo>
                  <a:pt x="66256" y="662557"/>
                </a:lnTo>
                <a:cubicBezTo>
                  <a:pt x="29664" y="662557"/>
                  <a:pt x="0" y="632893"/>
                  <a:pt x="0" y="596301"/>
                </a:cubicBezTo>
                <a:lnTo>
                  <a:pt x="0" y="662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755" tIns="81755" rIns="81755" bIns="81755" numCol="1" spcCol="1270" anchor="ctr" anchorCtr="0">
            <a:noAutofit/>
          </a:bodyPr>
          <a:lstStyle/>
          <a:p>
            <a:pPr defTabSz="622284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it-IT" sz="1600" b="1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PPORTO ALLA MESSA IN PRODUZIONE</a:t>
            </a:r>
          </a:p>
        </p:txBody>
      </p:sp>
      <p:sp>
        <p:nvSpPr>
          <p:cNvPr id="12" name="Figura a mano libera: forma 11">
            <a:extLst>
              <a:ext uri="{FF2B5EF4-FFF2-40B4-BE49-F238E27FC236}">
                <a16:creationId xmlns:a16="http://schemas.microsoft.com/office/drawing/2014/main" id="{B387ED14-DA9E-434A-828C-0A2F8DFA1EE5}"/>
              </a:ext>
            </a:extLst>
          </p:cNvPr>
          <p:cNvSpPr/>
          <p:nvPr/>
        </p:nvSpPr>
        <p:spPr>
          <a:xfrm>
            <a:off x="983046" y="2165633"/>
            <a:ext cx="185453" cy="331277"/>
          </a:xfrm>
          <a:custGeom>
            <a:avLst/>
            <a:gdLst>
              <a:gd name="connsiteX0" fmla="*/ 0 w 248458"/>
              <a:gd name="connsiteY0" fmla="*/ 27818 h 139090"/>
              <a:gd name="connsiteX1" fmla="*/ 178913 w 248458"/>
              <a:gd name="connsiteY1" fmla="*/ 27818 h 139090"/>
              <a:gd name="connsiteX2" fmla="*/ 178913 w 248458"/>
              <a:gd name="connsiteY2" fmla="*/ 0 h 139090"/>
              <a:gd name="connsiteX3" fmla="*/ 248458 w 248458"/>
              <a:gd name="connsiteY3" fmla="*/ 69545 h 139090"/>
              <a:gd name="connsiteX4" fmla="*/ 178913 w 248458"/>
              <a:gd name="connsiteY4" fmla="*/ 139090 h 139090"/>
              <a:gd name="connsiteX5" fmla="*/ 178913 w 248458"/>
              <a:gd name="connsiteY5" fmla="*/ 111272 h 139090"/>
              <a:gd name="connsiteX6" fmla="*/ 0 w 248458"/>
              <a:gd name="connsiteY6" fmla="*/ 111272 h 139090"/>
              <a:gd name="connsiteX7" fmla="*/ 0 w 248458"/>
              <a:gd name="connsiteY7" fmla="*/ 27818 h 13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458" h="139090">
                <a:moveTo>
                  <a:pt x="198766" y="0"/>
                </a:moveTo>
                <a:lnTo>
                  <a:pt x="198766" y="100158"/>
                </a:lnTo>
                <a:lnTo>
                  <a:pt x="248457" y="100158"/>
                </a:lnTo>
                <a:lnTo>
                  <a:pt x="124229" y="139090"/>
                </a:lnTo>
                <a:lnTo>
                  <a:pt x="1" y="100158"/>
                </a:lnTo>
                <a:lnTo>
                  <a:pt x="49692" y="100158"/>
                </a:lnTo>
                <a:lnTo>
                  <a:pt x="49692" y="0"/>
                </a:lnTo>
                <a:lnTo>
                  <a:pt x="19876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091" tIns="1" rIns="37091" bIns="55635" numCol="1" spcCol="1270" anchor="ctr" anchorCtr="0">
            <a:noAutofit/>
          </a:bodyPr>
          <a:lstStyle/>
          <a:p>
            <a:pPr algn="ctr" defTabSz="829713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it-IT" sz="1867" b="1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3" name="Figura a mano libera: forma 12">
            <a:extLst>
              <a:ext uri="{FF2B5EF4-FFF2-40B4-BE49-F238E27FC236}">
                <a16:creationId xmlns:a16="http://schemas.microsoft.com/office/drawing/2014/main" id="{56AC2019-CF21-4ED7-9027-502AA4DC7340}"/>
              </a:ext>
            </a:extLst>
          </p:cNvPr>
          <p:cNvSpPr/>
          <p:nvPr/>
        </p:nvSpPr>
        <p:spPr>
          <a:xfrm>
            <a:off x="983046" y="4823563"/>
            <a:ext cx="185453" cy="331277"/>
          </a:xfrm>
          <a:custGeom>
            <a:avLst/>
            <a:gdLst>
              <a:gd name="connsiteX0" fmla="*/ 0 w 248458"/>
              <a:gd name="connsiteY0" fmla="*/ 27818 h 139090"/>
              <a:gd name="connsiteX1" fmla="*/ 178913 w 248458"/>
              <a:gd name="connsiteY1" fmla="*/ 27818 h 139090"/>
              <a:gd name="connsiteX2" fmla="*/ 178913 w 248458"/>
              <a:gd name="connsiteY2" fmla="*/ 0 h 139090"/>
              <a:gd name="connsiteX3" fmla="*/ 248458 w 248458"/>
              <a:gd name="connsiteY3" fmla="*/ 69545 h 139090"/>
              <a:gd name="connsiteX4" fmla="*/ 178913 w 248458"/>
              <a:gd name="connsiteY4" fmla="*/ 139090 h 139090"/>
              <a:gd name="connsiteX5" fmla="*/ 178913 w 248458"/>
              <a:gd name="connsiteY5" fmla="*/ 111272 h 139090"/>
              <a:gd name="connsiteX6" fmla="*/ 0 w 248458"/>
              <a:gd name="connsiteY6" fmla="*/ 111272 h 139090"/>
              <a:gd name="connsiteX7" fmla="*/ 0 w 248458"/>
              <a:gd name="connsiteY7" fmla="*/ 27818 h 13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458" h="139090">
                <a:moveTo>
                  <a:pt x="198766" y="0"/>
                </a:moveTo>
                <a:lnTo>
                  <a:pt x="198766" y="100158"/>
                </a:lnTo>
                <a:lnTo>
                  <a:pt x="248457" y="100158"/>
                </a:lnTo>
                <a:lnTo>
                  <a:pt x="124229" y="139090"/>
                </a:lnTo>
                <a:lnTo>
                  <a:pt x="1" y="100158"/>
                </a:lnTo>
                <a:lnTo>
                  <a:pt x="49692" y="100158"/>
                </a:lnTo>
                <a:lnTo>
                  <a:pt x="49692" y="0"/>
                </a:lnTo>
                <a:lnTo>
                  <a:pt x="19876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091" tIns="1" rIns="37091" bIns="55635" numCol="1" spcCol="1270" anchor="ctr" anchorCtr="0">
            <a:noAutofit/>
          </a:bodyPr>
          <a:lstStyle/>
          <a:p>
            <a:pPr algn="ctr" defTabSz="829713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it-IT" sz="1867" b="1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46CA6488-BEAC-4F25-84BC-B05716C2DE13}"/>
              </a:ext>
            </a:extLst>
          </p:cNvPr>
          <p:cNvSpPr/>
          <p:nvPr/>
        </p:nvSpPr>
        <p:spPr>
          <a:xfrm>
            <a:off x="5009639" y="1252308"/>
            <a:ext cx="6816000" cy="1057541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/>
          <a:p>
            <a:pPr algn="just" defTabSz="609585">
              <a:lnSpc>
                <a:spcPts val="2000"/>
              </a:lnSpc>
              <a:spcBef>
                <a:spcPct val="0"/>
              </a:spcBef>
              <a:buClr>
                <a:srgbClr val="003A79"/>
              </a:buClr>
              <a:buSzPct val="140000"/>
              <a:defRPr/>
            </a:pPr>
            <a:r>
              <a:rPr lang="it-IT" sz="1400" b="1">
                <a:solidFill>
                  <a:srgbClr val="406C9B"/>
                </a:solidFill>
                <a:latin typeface="Century Gothic"/>
                <a:ea typeface="MS PGothic"/>
                <a:cs typeface="Arial"/>
              </a:rPr>
              <a:t>Raccolta e definizione della domanda di ricerca </a:t>
            </a:r>
            <a:r>
              <a:rPr lang="it-IT" sz="1400">
                <a:latin typeface="Century Gothic"/>
                <a:ea typeface="MS PGothic"/>
                <a:cs typeface="Arial"/>
              </a:rPr>
              <a:t>con il cliente, interno o esterno, e </a:t>
            </a:r>
            <a:r>
              <a:rPr lang="it-IT" sz="1400" b="1">
                <a:solidFill>
                  <a:srgbClr val="406C9B"/>
                </a:solidFill>
                <a:latin typeface="Century Gothic"/>
                <a:ea typeface="MS PGothic"/>
                <a:cs typeface="Arial"/>
              </a:rPr>
              <a:t>definizione del brief scientifico </a:t>
            </a:r>
            <a:r>
              <a:rPr lang="it-IT" sz="1400">
                <a:latin typeface="Century Gothic"/>
                <a:ea typeface="MS PGothic"/>
                <a:cs typeface="Arial"/>
              </a:rPr>
              <a:t>in collaborazione con il partner scientifico</a:t>
            </a:r>
          </a:p>
          <a:p>
            <a:pPr algn="just" defTabSz="609585">
              <a:lnSpc>
                <a:spcPts val="2000"/>
              </a:lnSpc>
              <a:spcBef>
                <a:spcPct val="0"/>
              </a:spcBef>
              <a:buClr>
                <a:srgbClr val="003A79"/>
              </a:buClr>
              <a:buSzPct val="140000"/>
              <a:defRPr/>
            </a:pPr>
            <a:endParaRPr lang="it-IT" sz="1400">
              <a:solidFill>
                <a:prstClr val="black"/>
              </a:solidFill>
              <a:latin typeface="Century Gothic" panose="020B0502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8B2169C1-7CBF-4D9B-A969-C0662DE132D7}"/>
              </a:ext>
            </a:extLst>
          </p:cNvPr>
          <p:cNvSpPr/>
          <p:nvPr/>
        </p:nvSpPr>
        <p:spPr>
          <a:xfrm>
            <a:off x="5004000" y="2543559"/>
            <a:ext cx="6816000" cy="836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09585">
              <a:lnSpc>
                <a:spcPts val="2000"/>
              </a:lnSpc>
              <a:spcBef>
                <a:spcPct val="0"/>
              </a:spcBef>
              <a:buClr>
                <a:srgbClr val="003A79"/>
              </a:buClr>
              <a:buSzPct val="140000"/>
              <a:defRPr/>
            </a:pPr>
            <a:r>
              <a:rPr lang="it-IT" sz="1400">
                <a:solidFill>
                  <a:prstClr val="black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efinizione delle competenze verticali e </a:t>
            </a:r>
            <a:r>
              <a:rPr lang="it-IT" sz="1400" b="1">
                <a:solidFill>
                  <a:srgbClr val="406C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elezione del gruppo ricerca, validazione del protocollo </a:t>
            </a:r>
            <a:r>
              <a:rPr lang="it-IT" sz="1400">
                <a:solidFill>
                  <a:prstClr val="black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ediante iter autorizzativo (privacy, comitato etico,…) e definizione </a:t>
            </a:r>
            <a:r>
              <a:rPr lang="it-IT" sz="1400" b="1">
                <a:solidFill>
                  <a:srgbClr val="406C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ianto contrattuale</a:t>
            </a:r>
            <a:endParaRPr lang="en-US" sz="1400" b="1">
              <a:solidFill>
                <a:srgbClr val="406C9B"/>
              </a:solidFill>
              <a:latin typeface="Century Gothic" panose="020B0502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719CE474-B67C-4C4C-9E17-86BF5CE60EF8}"/>
              </a:ext>
            </a:extLst>
          </p:cNvPr>
          <p:cNvSpPr/>
          <p:nvPr/>
        </p:nvSpPr>
        <p:spPr>
          <a:xfrm>
            <a:off x="5003997" y="5294855"/>
            <a:ext cx="6816000" cy="586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09585">
              <a:lnSpc>
                <a:spcPts val="2000"/>
              </a:lnSpc>
              <a:spcBef>
                <a:spcPct val="0"/>
              </a:spcBef>
              <a:buClr>
                <a:srgbClr val="003A79"/>
              </a:buClr>
              <a:buSzPct val="140000"/>
              <a:defRPr/>
            </a:pPr>
            <a:r>
              <a:rPr lang="it-IT" sz="1400" b="1">
                <a:solidFill>
                  <a:srgbClr val="406C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upporto all’integrazione della soluzione individuata</a:t>
            </a:r>
            <a:r>
              <a:rPr lang="it-IT" sz="1400">
                <a:solidFill>
                  <a:prstClr val="black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nel contesto di riferimento aziendale e sviluppo del prodotto anche attraverso partner terzi 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5ED331D5-5124-4057-9E7D-74B02B944E36}"/>
              </a:ext>
            </a:extLst>
          </p:cNvPr>
          <p:cNvSpPr/>
          <p:nvPr/>
        </p:nvSpPr>
        <p:spPr>
          <a:xfrm>
            <a:off x="5009640" y="3933719"/>
            <a:ext cx="6816000" cy="837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09585">
              <a:lnSpc>
                <a:spcPts val="2000"/>
              </a:lnSpc>
              <a:spcBef>
                <a:spcPct val="0"/>
              </a:spcBef>
              <a:buClr>
                <a:srgbClr val="003A79"/>
              </a:buClr>
              <a:buSzPct val="140000"/>
              <a:defRPr/>
            </a:pPr>
            <a:r>
              <a:rPr lang="it-IT" sz="1400" b="1">
                <a:solidFill>
                  <a:srgbClr val="406C9B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reazione e sviluppo, a cura del gruppo di ricerca, di soluzioni avanzate e innovative </a:t>
            </a:r>
            <a:r>
              <a:rPr lang="it-IT" sz="1400">
                <a:solidFill>
                  <a:prstClr val="black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er problemi complessi in sinergia con esperti di dominio delle business unit del Gruppo o delle aziende clienti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ACC27634-ECCA-4C27-80DA-499932820CF2}"/>
              </a:ext>
            </a:extLst>
          </p:cNvPr>
          <p:cNvGrpSpPr/>
          <p:nvPr/>
        </p:nvGrpSpPr>
        <p:grpSpPr>
          <a:xfrm>
            <a:off x="702124" y="1249477"/>
            <a:ext cx="747296" cy="747296"/>
            <a:chOff x="246241" y="2008036"/>
            <a:chExt cx="560472" cy="560472"/>
          </a:xfrm>
        </p:grpSpPr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BA160BFD-E346-4C91-AFFE-D4FDFAD48D34}"/>
                </a:ext>
              </a:extLst>
            </p:cNvPr>
            <p:cNvSpPr/>
            <p:nvPr/>
          </p:nvSpPr>
          <p:spPr>
            <a:xfrm>
              <a:off x="246241" y="2008036"/>
              <a:ext cx="560472" cy="560472"/>
            </a:xfrm>
            <a:prstGeom prst="ellipse">
              <a:avLst/>
            </a:prstGeom>
            <a:solidFill>
              <a:srgbClr val="406B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0" name="Immagine 19">
              <a:extLst>
                <a:ext uri="{FF2B5EF4-FFF2-40B4-BE49-F238E27FC236}">
                  <a16:creationId xmlns:a16="http://schemas.microsoft.com/office/drawing/2014/main" id="{992F852B-1C01-469E-A721-59216845E1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 contrast="-40000"/>
                      </a14:imgEffect>
                    </a14:imgLayer>
                  </a14:imgProps>
                </a:ext>
              </a:extLst>
            </a:blip>
            <a:srcRect b="18286"/>
            <a:stretch/>
          </p:blipFill>
          <p:spPr>
            <a:xfrm>
              <a:off x="311085" y="2069126"/>
              <a:ext cx="430783" cy="401017"/>
            </a:xfrm>
            <a:prstGeom prst="rect">
              <a:avLst/>
            </a:prstGeom>
          </p:spPr>
        </p:pic>
      </p:grpSp>
      <p:sp>
        <p:nvSpPr>
          <p:cNvPr id="22" name="Ovale 21">
            <a:extLst>
              <a:ext uri="{FF2B5EF4-FFF2-40B4-BE49-F238E27FC236}">
                <a16:creationId xmlns:a16="http://schemas.microsoft.com/office/drawing/2014/main" id="{ACA7EE1B-9CAD-48EA-B786-B31B1895AD5E}"/>
              </a:ext>
            </a:extLst>
          </p:cNvPr>
          <p:cNvSpPr/>
          <p:nvPr/>
        </p:nvSpPr>
        <p:spPr>
          <a:xfrm>
            <a:off x="702124" y="2588113"/>
            <a:ext cx="747296" cy="747296"/>
          </a:xfrm>
          <a:prstGeom prst="ellipse">
            <a:avLst/>
          </a:prstGeom>
          <a:solidFill>
            <a:srgbClr val="40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F9D656CF-C54D-40AE-AB86-910944960135}"/>
              </a:ext>
            </a:extLst>
          </p:cNvPr>
          <p:cNvGrpSpPr/>
          <p:nvPr/>
        </p:nvGrpSpPr>
        <p:grpSpPr>
          <a:xfrm>
            <a:off x="702124" y="3937107"/>
            <a:ext cx="747296" cy="747296"/>
            <a:chOff x="206377" y="3012246"/>
            <a:chExt cx="560472" cy="560472"/>
          </a:xfrm>
          <a:solidFill>
            <a:srgbClr val="406B9B"/>
          </a:solidFill>
        </p:grpSpPr>
        <p:sp>
          <p:nvSpPr>
            <p:cNvPr id="25" name="Ovale 24">
              <a:extLst>
                <a:ext uri="{FF2B5EF4-FFF2-40B4-BE49-F238E27FC236}">
                  <a16:creationId xmlns:a16="http://schemas.microsoft.com/office/drawing/2014/main" id="{176150E1-3A8F-44BA-BD4B-024FBFAB7A95}"/>
                </a:ext>
              </a:extLst>
            </p:cNvPr>
            <p:cNvSpPr/>
            <p:nvPr/>
          </p:nvSpPr>
          <p:spPr>
            <a:xfrm>
              <a:off x="206377" y="3012246"/>
              <a:ext cx="560472" cy="56047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6" name="Immagine 25">
              <a:extLst>
                <a:ext uri="{FF2B5EF4-FFF2-40B4-BE49-F238E27FC236}">
                  <a16:creationId xmlns:a16="http://schemas.microsoft.com/office/drawing/2014/main" id="{72C2642B-3BFA-4A9E-990E-0EE47EAC5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-40000"/>
                      </a14:imgEffect>
                    </a14:imgLayer>
                  </a14:imgProps>
                </a:ext>
              </a:extLst>
            </a:blip>
            <a:srcRect b="18148"/>
            <a:stretch/>
          </p:blipFill>
          <p:spPr>
            <a:xfrm>
              <a:off x="261112" y="3098918"/>
              <a:ext cx="451001" cy="37421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342D45C2-385F-4394-A3AD-F0019D346E05}"/>
              </a:ext>
            </a:extLst>
          </p:cNvPr>
          <p:cNvGrpSpPr/>
          <p:nvPr/>
        </p:nvGrpSpPr>
        <p:grpSpPr>
          <a:xfrm>
            <a:off x="702124" y="5246360"/>
            <a:ext cx="747296" cy="747296"/>
            <a:chOff x="232976" y="3994186"/>
            <a:chExt cx="560472" cy="560472"/>
          </a:xfrm>
          <a:solidFill>
            <a:srgbClr val="406B9B"/>
          </a:solidFill>
        </p:grpSpPr>
        <p:sp>
          <p:nvSpPr>
            <p:cNvPr id="28" name="Ovale 27">
              <a:extLst>
                <a:ext uri="{FF2B5EF4-FFF2-40B4-BE49-F238E27FC236}">
                  <a16:creationId xmlns:a16="http://schemas.microsoft.com/office/drawing/2014/main" id="{1CA9641C-E92E-4FB3-B323-37D4A4B60CFC}"/>
                </a:ext>
              </a:extLst>
            </p:cNvPr>
            <p:cNvSpPr/>
            <p:nvPr/>
          </p:nvSpPr>
          <p:spPr>
            <a:xfrm>
              <a:off x="232976" y="3994186"/>
              <a:ext cx="560472" cy="56047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240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9" name="Immagine 28">
              <a:extLst>
                <a:ext uri="{FF2B5EF4-FFF2-40B4-BE49-F238E27FC236}">
                  <a16:creationId xmlns:a16="http://schemas.microsoft.com/office/drawing/2014/main" id="{7A2B54FD-96F9-4391-BEAF-00BB7B9134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 contrast="-40000"/>
                      </a14:imgEffect>
                    </a14:imgLayer>
                  </a14:imgProps>
                </a:ext>
              </a:extLst>
            </a:blip>
            <a:srcRect b="17407"/>
            <a:stretch/>
          </p:blipFill>
          <p:spPr>
            <a:xfrm>
              <a:off x="334332" y="4132479"/>
              <a:ext cx="355992" cy="257908"/>
            </a:xfrm>
            <a:prstGeom prst="rect">
              <a:avLst/>
            </a:prstGeom>
            <a:grpFill/>
          </p:spPr>
        </p:pic>
      </p:grp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BBA8AD10-2649-4A1A-B6C7-343633CE14D3}"/>
              </a:ext>
            </a:extLst>
          </p:cNvPr>
          <p:cNvCxnSpPr>
            <a:cxnSpLocks/>
          </p:cNvCxnSpPr>
          <p:nvPr/>
        </p:nvCxnSpPr>
        <p:spPr>
          <a:xfrm>
            <a:off x="4964521" y="1304313"/>
            <a:ext cx="0" cy="730091"/>
          </a:xfrm>
          <a:prstGeom prst="line">
            <a:avLst/>
          </a:prstGeom>
          <a:ln w="19050">
            <a:solidFill>
              <a:srgbClr val="406B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36A6B7C9-38D6-4495-ABF6-5807EE114171}"/>
              </a:ext>
            </a:extLst>
          </p:cNvPr>
          <p:cNvCxnSpPr/>
          <p:nvPr/>
        </p:nvCxnSpPr>
        <p:spPr>
          <a:xfrm>
            <a:off x="4964521" y="2651553"/>
            <a:ext cx="0" cy="663719"/>
          </a:xfrm>
          <a:prstGeom prst="line">
            <a:avLst/>
          </a:prstGeom>
          <a:ln w="19050">
            <a:solidFill>
              <a:srgbClr val="406B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diritto 32">
            <a:extLst>
              <a:ext uri="{FF2B5EF4-FFF2-40B4-BE49-F238E27FC236}">
                <a16:creationId xmlns:a16="http://schemas.microsoft.com/office/drawing/2014/main" id="{708092E2-FA0C-42BD-9D6B-88BF43DE5703}"/>
              </a:ext>
            </a:extLst>
          </p:cNvPr>
          <p:cNvCxnSpPr>
            <a:cxnSpLocks/>
          </p:cNvCxnSpPr>
          <p:nvPr/>
        </p:nvCxnSpPr>
        <p:spPr>
          <a:xfrm flipH="1">
            <a:off x="4951263" y="3925260"/>
            <a:ext cx="13259" cy="876531"/>
          </a:xfrm>
          <a:prstGeom prst="line">
            <a:avLst/>
          </a:prstGeom>
          <a:ln w="19050">
            <a:solidFill>
              <a:srgbClr val="406B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diritto 33">
            <a:extLst>
              <a:ext uri="{FF2B5EF4-FFF2-40B4-BE49-F238E27FC236}">
                <a16:creationId xmlns:a16="http://schemas.microsoft.com/office/drawing/2014/main" id="{D4BE0E0A-BA37-4E51-A0BA-F2B88D13E2ED}"/>
              </a:ext>
            </a:extLst>
          </p:cNvPr>
          <p:cNvCxnSpPr/>
          <p:nvPr/>
        </p:nvCxnSpPr>
        <p:spPr>
          <a:xfrm>
            <a:off x="4964521" y="5294855"/>
            <a:ext cx="0" cy="603380"/>
          </a:xfrm>
          <a:prstGeom prst="line">
            <a:avLst/>
          </a:prstGeom>
          <a:ln w="19050">
            <a:solidFill>
              <a:srgbClr val="406B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Elemento grafico 36" descr="Segno di spunta contorno">
            <a:extLst>
              <a:ext uri="{FF2B5EF4-FFF2-40B4-BE49-F238E27FC236}">
                <a16:creationId xmlns:a16="http://schemas.microsoft.com/office/drawing/2014/main" id="{57EB3191-38FD-4CE4-B109-3B25B0FC909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62485" y="2770651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8425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3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245" b="1">
              <a:solidFill>
                <a:srgbClr val="000000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531367" y="366714"/>
            <a:ext cx="10363047" cy="3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lnSpc>
                <a:spcPct val="90000"/>
              </a:lnSpc>
              <a:tabLst/>
            </a:pPr>
            <a:r>
              <a:rPr lang="it-IT"/>
              <a:t>Il </a:t>
            </a:r>
            <a:r>
              <a:rPr lang="it-IT" err="1"/>
              <a:t>Circular</a:t>
            </a:r>
            <a:r>
              <a:rPr lang="it-IT"/>
              <a:t> Economy Lab</a:t>
            </a:r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518640" y="845193"/>
            <a:ext cx="10621564" cy="692181"/>
          </a:xfrm>
        </p:spPr>
        <p:txBody>
          <a:bodyPr/>
          <a:lstStyle/>
          <a:p>
            <a:r>
              <a:rPr lang="it-IT" sz="2000"/>
              <a:t>Intesa Sanpaolo </a:t>
            </a:r>
            <a:r>
              <a:rPr lang="it-IT" sz="2000" err="1"/>
              <a:t>Innovation</a:t>
            </a:r>
            <a:r>
              <a:rPr lang="it-IT" sz="2000"/>
              <a:t> Center ha sviluppato con Cariplo </a:t>
            </a:r>
            <a:r>
              <a:rPr lang="it-IT" sz="2000" err="1"/>
              <a:t>Factory</a:t>
            </a:r>
            <a:r>
              <a:rPr lang="it-IT" sz="2000"/>
              <a:t> </a:t>
            </a:r>
            <a:br>
              <a:rPr lang="it-IT" sz="2000"/>
            </a:br>
            <a:r>
              <a:rPr lang="it-IT" sz="2000"/>
              <a:t>il primo laboratorio italiano sul tema </a:t>
            </a:r>
            <a:r>
              <a:rPr lang="it-IT" sz="2000" err="1"/>
              <a:t>Circular</a:t>
            </a:r>
            <a:r>
              <a:rPr lang="it-IT" sz="2000"/>
              <a:t> Econom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07D5BF-FF3F-4D6D-9BA8-64658C5D3C20}"/>
              </a:ext>
            </a:extLst>
          </p:cNvPr>
          <p:cNvSpPr txBox="1">
            <a:spLocks/>
          </p:cNvSpPr>
          <p:nvPr/>
        </p:nvSpPr>
        <p:spPr>
          <a:xfrm>
            <a:off x="518641" y="2325743"/>
            <a:ext cx="5451596" cy="40833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32962" fontAlgn="base">
              <a:spcAft>
                <a:spcPct val="0"/>
              </a:spcAft>
              <a:buClr>
                <a:srgbClr val="3B8686"/>
              </a:buClr>
              <a:buSzPct val="120000"/>
            </a:pPr>
            <a:r>
              <a:rPr lang="it-IT" sz="1632" b="1" err="1">
                <a:solidFill>
                  <a:srgbClr val="406B9B"/>
                </a:solidFill>
              </a:rPr>
              <a:t>Circular</a:t>
            </a:r>
            <a:r>
              <a:rPr lang="it-IT" sz="1632" b="1">
                <a:solidFill>
                  <a:srgbClr val="406B9B"/>
                </a:solidFill>
              </a:rPr>
              <a:t> Innovation: </a:t>
            </a:r>
            <a:r>
              <a:rPr lang="it-IT" sz="1632" err="1">
                <a:solidFill>
                  <a:srgbClr val="000000"/>
                </a:solidFill>
              </a:rPr>
              <a:t>assessment</a:t>
            </a:r>
            <a:r>
              <a:rPr lang="it-IT" sz="1632">
                <a:solidFill>
                  <a:srgbClr val="000000"/>
                </a:solidFill>
              </a:rPr>
              <a:t> del livello di circolarità, </a:t>
            </a:r>
            <a:r>
              <a:rPr lang="it-IT" sz="1632" err="1">
                <a:solidFill>
                  <a:srgbClr val="000000"/>
                </a:solidFill>
              </a:rPr>
              <a:t>advisory</a:t>
            </a:r>
            <a:r>
              <a:rPr lang="it-IT" sz="1632">
                <a:solidFill>
                  <a:srgbClr val="000000"/>
                </a:solidFill>
              </a:rPr>
              <a:t> di open innovation ad aziende consolidate, supporto all’avvio di progetti per promuovere la transizione delle imprese verso la C.E., anche attraverso attività di workshop, project building, etc.</a:t>
            </a:r>
          </a:p>
          <a:p>
            <a:pPr defTabSz="932962" fontAlgn="base">
              <a:spcAft>
                <a:spcPct val="0"/>
              </a:spcAft>
              <a:buClr>
                <a:srgbClr val="3B8686"/>
              </a:buClr>
              <a:buSzPct val="120000"/>
            </a:pPr>
            <a:endParaRPr lang="it-IT" sz="1632" b="1">
              <a:solidFill>
                <a:srgbClr val="406B9B"/>
              </a:solidFill>
            </a:endParaRPr>
          </a:p>
          <a:p>
            <a:pPr defTabSz="932962" fontAlgn="base">
              <a:spcAft>
                <a:spcPct val="0"/>
              </a:spcAft>
              <a:buClr>
                <a:srgbClr val="3B8686"/>
              </a:buClr>
              <a:buSzPct val="120000"/>
            </a:pPr>
            <a:r>
              <a:rPr lang="it-IT" sz="1632" b="1" err="1">
                <a:solidFill>
                  <a:srgbClr val="406B9B"/>
                </a:solidFill>
              </a:rPr>
              <a:t>Circular</a:t>
            </a:r>
            <a:r>
              <a:rPr lang="it-IT" sz="1632" b="1">
                <a:solidFill>
                  <a:srgbClr val="406B9B"/>
                </a:solidFill>
              </a:rPr>
              <a:t> </a:t>
            </a:r>
            <a:r>
              <a:rPr lang="it-IT" sz="1632" b="1" err="1">
                <a:solidFill>
                  <a:srgbClr val="406B9B"/>
                </a:solidFill>
              </a:rPr>
              <a:t>Education</a:t>
            </a:r>
            <a:r>
              <a:rPr lang="it-IT" sz="1632" b="1">
                <a:solidFill>
                  <a:srgbClr val="406B9B"/>
                </a:solidFill>
              </a:rPr>
              <a:t>: </a:t>
            </a:r>
            <a:r>
              <a:rPr lang="it-IT" sz="1632">
                <a:solidFill>
                  <a:srgbClr val="000000"/>
                </a:solidFill>
              </a:rPr>
              <a:t>supporto alla generazione, diffusione e trasferimento di know-how e cultura sulle tematiche C.E. (es. eLearning, formazione di competenze, trasferimento di conoscenza e sostegno di ricerche a carattere applicativo) </a:t>
            </a:r>
          </a:p>
          <a:p>
            <a:pPr defTabSz="932962" fontAlgn="base">
              <a:spcAft>
                <a:spcPct val="0"/>
              </a:spcAft>
              <a:buClr>
                <a:srgbClr val="3B8686"/>
              </a:buClr>
              <a:buSzPct val="120000"/>
            </a:pPr>
            <a:endParaRPr lang="it-IT" sz="1632" b="1">
              <a:solidFill>
                <a:srgbClr val="406B9B"/>
              </a:solidFill>
            </a:endParaRPr>
          </a:p>
          <a:p>
            <a:pPr defTabSz="932962" fontAlgn="base">
              <a:spcAft>
                <a:spcPct val="0"/>
              </a:spcAft>
              <a:buClr>
                <a:srgbClr val="3B8686"/>
              </a:buClr>
              <a:buSzPct val="120000"/>
            </a:pPr>
            <a:r>
              <a:rPr lang="it-IT" sz="1632" b="1" err="1">
                <a:solidFill>
                  <a:srgbClr val="406B9B"/>
                </a:solidFill>
              </a:rPr>
              <a:t>Circular</a:t>
            </a:r>
            <a:r>
              <a:rPr lang="it-IT" sz="1632" b="1">
                <a:solidFill>
                  <a:srgbClr val="406B9B"/>
                </a:solidFill>
              </a:rPr>
              <a:t> Connection: </a:t>
            </a:r>
            <a:r>
              <a:rPr lang="it-IT" sz="1632">
                <a:solidFill>
                  <a:srgbClr val="000000"/>
                </a:solidFill>
              </a:rPr>
              <a:t>supporto alla creazione di un dialogo aperto sulla C.E. a livello nazionale e internazionale (es. eventi e networking tra operatori e centri di competenza)</a:t>
            </a:r>
          </a:p>
          <a:p>
            <a:pPr marL="291551" indent="-291551" defTabSz="932962" fontAlgn="base">
              <a:spcAft>
                <a:spcPct val="0"/>
              </a:spcAft>
              <a:buClr>
                <a:srgbClr val="3B8686"/>
              </a:buClr>
              <a:buSzPct val="120000"/>
              <a:buFont typeface="Wingdings" panose="05000000000000000000" pitchFamily="2" charset="2"/>
              <a:buChar char="§"/>
            </a:pPr>
            <a:endParaRPr lang="it-IT" sz="1632" b="1">
              <a:solidFill>
                <a:srgbClr val="406B9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4DB841-DB2B-452F-9EFB-D6DFD55B3868}"/>
              </a:ext>
            </a:extLst>
          </p:cNvPr>
          <p:cNvGrpSpPr/>
          <p:nvPr/>
        </p:nvGrpSpPr>
        <p:grpSpPr bwMode="gray">
          <a:xfrm>
            <a:off x="6232878" y="4224685"/>
            <a:ext cx="181411" cy="429233"/>
            <a:chOff x="6780812" y="3385011"/>
            <a:chExt cx="241430" cy="286607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2701EAEA-2CE2-4E56-98EE-57F32F6C6360}"/>
                </a:ext>
              </a:extLst>
            </p:cNvPr>
            <p:cNvSpPr/>
            <p:nvPr/>
          </p:nvSpPr>
          <p:spPr bwMode="gray">
            <a:xfrm rot="5400000">
              <a:off x="6790912" y="3440289"/>
              <a:ext cx="286607" cy="176052"/>
            </a:xfrm>
            <a:prstGeom prst="triangle">
              <a:avLst/>
            </a:prstGeom>
            <a:solidFill>
              <a:schemeClr val="accent1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122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D09DB923-1DE0-45E9-B04B-527B38CAE910}"/>
                </a:ext>
              </a:extLst>
            </p:cNvPr>
            <p:cNvSpPr/>
            <p:nvPr/>
          </p:nvSpPr>
          <p:spPr bwMode="gray">
            <a:xfrm rot="5400000">
              <a:off x="6732242" y="3450969"/>
              <a:ext cx="251830" cy="154690"/>
            </a:xfrm>
            <a:prstGeom prst="triangle">
              <a:avLst/>
            </a:prstGeom>
            <a:solidFill>
              <a:schemeClr val="accent4">
                <a:alpha val="7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122" err="1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12" name="VerticalLine4 16">
            <a:extLst>
              <a:ext uri="{FF2B5EF4-FFF2-40B4-BE49-F238E27FC236}">
                <a16:creationId xmlns:a16="http://schemas.microsoft.com/office/drawing/2014/main" id="{D2772C3A-DFFA-407B-8686-969B47D4706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6323584" y="2325743"/>
            <a:ext cx="0" cy="1836561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VerticalLine4 16">
            <a:extLst>
              <a:ext uri="{FF2B5EF4-FFF2-40B4-BE49-F238E27FC236}">
                <a16:creationId xmlns:a16="http://schemas.microsoft.com/office/drawing/2014/main" id="{5F16E836-0984-4A1A-8966-63442C2A679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6323582" y="4821750"/>
            <a:ext cx="0" cy="1836561"/>
          </a:xfrm>
          <a:prstGeom prst="line">
            <a:avLst/>
          </a:prstGeom>
          <a:ln w="3175">
            <a:solidFill>
              <a:srgbClr val="BFBFB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496399F-84FE-43D0-B1BB-730E4F4A183A}"/>
              </a:ext>
            </a:extLst>
          </p:cNvPr>
          <p:cNvSpPr txBox="1">
            <a:spLocks/>
          </p:cNvSpPr>
          <p:nvPr/>
        </p:nvSpPr>
        <p:spPr bwMode="gray">
          <a:xfrm>
            <a:off x="518641" y="1713568"/>
            <a:ext cx="5940299" cy="256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003A79"/>
              </a:buClr>
            </a:pPr>
            <a:r>
              <a:rPr lang="it-IT" sz="1632" b="1">
                <a:solidFill>
                  <a:srgbClr val="406B9B"/>
                </a:solidFill>
              </a:rPr>
              <a:t>I pilastri chiave su cui si poggia l’attività del CE Lab:</a:t>
            </a:r>
            <a:endParaRPr lang="it-IT" sz="1632">
              <a:solidFill>
                <a:srgbClr val="808080"/>
              </a:solidFill>
            </a:endParaRPr>
          </a:p>
        </p:txBody>
      </p:sp>
      <p:graphicFrame>
        <p:nvGraphicFramePr>
          <p:cNvPr id="74" name="Chart 47">
            <a:extLst>
              <a:ext uri="{FF2B5EF4-FFF2-40B4-BE49-F238E27FC236}">
                <a16:creationId xmlns:a16="http://schemas.microsoft.com/office/drawing/2014/main" id="{D2DB04EB-BC75-41A3-8D50-1D0F2B9C175A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221812" y="2064580"/>
          <a:ext cx="3931121" cy="3931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0B2DD2BB-BFB4-4BEF-B972-C69C5069BF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870094" y="2009508"/>
            <a:ext cx="725646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Polimeri 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C39031A-533D-449E-B39E-AC3395B39D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870095" y="5832106"/>
            <a:ext cx="101396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Alimentare 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25EB1FD-1D36-41CE-8BFE-234139A40F3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01680" y="5832106"/>
            <a:ext cx="70135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Mobilità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27B4B90E-E879-4DAD-BEAA-12E8E9C1965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053201" y="2981586"/>
            <a:ext cx="947551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Materiali </a:t>
            </a:r>
          </a:p>
          <a:p>
            <a:pPr defTabSz="1218095">
              <a:buClr>
                <a:srgbClr val="003A79"/>
              </a:buClr>
            </a:pPr>
            <a:r>
              <a:rPr lang="it-IT" altLang="en-US" sz="1428" err="1">
                <a:solidFill>
                  <a:srgbClr val="000000"/>
                </a:solidFill>
              </a:rPr>
              <a:t>bio-based</a:t>
            </a:r>
            <a:r>
              <a:rPr lang="it-IT" altLang="en-US" sz="1428">
                <a:solidFill>
                  <a:srgbClr val="000000"/>
                </a:solidFill>
              </a:rPr>
              <a:t> 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7A0746A6-6B3E-4AD9-9968-F55CB39FD9E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51661" y="4657791"/>
            <a:ext cx="712688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Energia </a:t>
            </a:r>
          </a:p>
          <a:p>
            <a:pPr defTabSz="1218095">
              <a:buClr>
                <a:srgbClr val="003A79"/>
              </a:buClr>
            </a:pP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961359C-68E9-4F8C-9FFE-14257B2DEAA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993966" y="4642982"/>
            <a:ext cx="1112765" cy="43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Costruzioni </a:t>
            </a:r>
          </a:p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e Smart City 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F54935EA-5AD8-40F6-B02A-7D7ECEFE980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808777" y="3128752"/>
            <a:ext cx="57501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Tessile </a:t>
            </a:r>
            <a:endParaRPr lang="it-IT" sz="1428">
              <a:solidFill>
                <a:srgbClr val="000000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7B7BBED-51D4-4243-B4AE-BDB8AAD5AD7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84210" y="2009508"/>
            <a:ext cx="1018820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8095">
              <a:buClr>
                <a:srgbClr val="003A79"/>
              </a:buClr>
            </a:pPr>
            <a:r>
              <a:rPr lang="it-IT" altLang="en-US" sz="1428">
                <a:solidFill>
                  <a:srgbClr val="000000"/>
                </a:solidFill>
              </a:rPr>
              <a:t>Agricoltura </a:t>
            </a:r>
            <a:endParaRPr lang="it-IT" sz="1428">
              <a:solidFill>
                <a:srgbClr val="000000"/>
              </a:solidFill>
            </a:endParaRPr>
          </a:p>
        </p:txBody>
      </p:sp>
      <p:pic>
        <p:nvPicPr>
          <p:cNvPr id="83" name="Picture 115" descr="Risultati immagini per intesa sanpaolo innovation center logo png">
            <a:extLst>
              <a:ext uri="{FF2B5EF4-FFF2-40B4-BE49-F238E27FC236}">
                <a16:creationId xmlns:a16="http://schemas.microsoft.com/office/drawing/2014/main" id="{C24AD62E-C846-4801-BA9C-6F51E9E6F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0373" y="3989970"/>
            <a:ext cx="1572704" cy="22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Graphic 113">
            <a:extLst>
              <a:ext uri="{FF2B5EF4-FFF2-40B4-BE49-F238E27FC236}">
                <a16:creationId xmlns:a16="http://schemas.microsoft.com/office/drawing/2014/main" id="{A67E6CA9-983C-491A-8253-277EEC56B9C0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436620" y="2454938"/>
            <a:ext cx="476205" cy="476205"/>
          </a:xfrm>
          <a:prstGeom prst="rect">
            <a:avLst/>
          </a:prstGeom>
        </p:spPr>
      </p:pic>
      <p:pic>
        <p:nvPicPr>
          <p:cNvPr id="85" name="Graphic 117">
            <a:extLst>
              <a:ext uri="{FF2B5EF4-FFF2-40B4-BE49-F238E27FC236}">
                <a16:creationId xmlns:a16="http://schemas.microsoft.com/office/drawing/2014/main" id="{76643334-24B6-43F5-8733-34BAFA8DA739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444101" y="2495432"/>
            <a:ext cx="495642" cy="495642"/>
          </a:xfrm>
          <a:prstGeom prst="rect">
            <a:avLst/>
          </a:prstGeom>
        </p:spPr>
      </p:pic>
      <p:pic>
        <p:nvPicPr>
          <p:cNvPr id="86" name="Graphic 119">
            <a:extLst>
              <a:ext uri="{FF2B5EF4-FFF2-40B4-BE49-F238E27FC236}">
                <a16:creationId xmlns:a16="http://schemas.microsoft.com/office/drawing/2014/main" id="{1D3C7CDA-4977-41F4-BE1C-47045AF138A3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224818" y="3211358"/>
            <a:ext cx="602545" cy="602545"/>
          </a:xfrm>
          <a:prstGeom prst="rect">
            <a:avLst/>
          </a:prstGeom>
        </p:spPr>
      </p:pic>
      <p:pic>
        <p:nvPicPr>
          <p:cNvPr id="87" name="Graphic 121">
            <a:extLst>
              <a:ext uri="{FF2B5EF4-FFF2-40B4-BE49-F238E27FC236}">
                <a16:creationId xmlns:a16="http://schemas.microsoft.com/office/drawing/2014/main" id="{1C1ACA04-DB80-4BCF-ABD0-269F0969EEB4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283128" y="4299826"/>
            <a:ext cx="472966" cy="472966"/>
          </a:xfrm>
          <a:prstGeom prst="rect">
            <a:avLst/>
          </a:prstGeom>
        </p:spPr>
      </p:pic>
      <p:pic>
        <p:nvPicPr>
          <p:cNvPr id="88" name="Graphic 123">
            <a:extLst>
              <a:ext uri="{FF2B5EF4-FFF2-40B4-BE49-F238E27FC236}">
                <a16:creationId xmlns:a16="http://schemas.microsoft.com/office/drawing/2014/main" id="{C5AC55F2-9E21-491F-AA7E-60BB14A3BD91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521849" y="5085404"/>
            <a:ext cx="417894" cy="417894"/>
          </a:xfrm>
          <a:prstGeom prst="rect">
            <a:avLst/>
          </a:prstGeom>
        </p:spPr>
      </p:pic>
      <p:pic>
        <p:nvPicPr>
          <p:cNvPr id="89" name="Graphic 126">
            <a:extLst>
              <a:ext uri="{FF2B5EF4-FFF2-40B4-BE49-F238E27FC236}">
                <a16:creationId xmlns:a16="http://schemas.microsoft.com/office/drawing/2014/main" id="{E6FF6486-AFAB-490F-859C-397D1F41091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422043" y="5065967"/>
            <a:ext cx="534516" cy="534516"/>
          </a:xfrm>
          <a:prstGeom prst="rect">
            <a:avLst/>
          </a:prstGeom>
        </p:spPr>
      </p:pic>
      <p:pic>
        <p:nvPicPr>
          <p:cNvPr id="90" name="Graphic 421888">
            <a:extLst>
              <a:ext uri="{FF2B5EF4-FFF2-40B4-BE49-F238E27FC236}">
                <a16:creationId xmlns:a16="http://schemas.microsoft.com/office/drawing/2014/main" id="{F5FA60F0-8ECD-4AF0-8E21-271DE72F38FB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587873" y="4217221"/>
            <a:ext cx="649518" cy="649518"/>
          </a:xfrm>
          <a:prstGeom prst="rect">
            <a:avLst/>
          </a:prstGeom>
        </p:spPr>
      </p:pic>
      <p:pic>
        <p:nvPicPr>
          <p:cNvPr id="91" name="Graphic 421890">
            <a:extLst>
              <a:ext uri="{FF2B5EF4-FFF2-40B4-BE49-F238E27FC236}">
                <a16:creationId xmlns:a16="http://schemas.microsoft.com/office/drawing/2014/main" id="{FAFB2A3B-0621-4B0F-8F10-55E9F7014C6D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581395" y="3190303"/>
            <a:ext cx="594447" cy="594447"/>
          </a:xfrm>
          <a:prstGeom prst="rect">
            <a:avLst/>
          </a:prstGeom>
        </p:spPr>
      </p:pic>
      <p:pic>
        <p:nvPicPr>
          <p:cNvPr id="92" name="Immagine 91"/>
          <p:cNvPicPr>
            <a:picLocks noChangeAspect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88"/>
          <a:stretch/>
        </p:blipFill>
        <p:spPr>
          <a:xfrm>
            <a:off x="8393546" y="3290905"/>
            <a:ext cx="1536869" cy="608463"/>
          </a:xfrm>
          <a:prstGeom prst="rect">
            <a:avLst/>
          </a:prstGeom>
        </p:spPr>
      </p:pic>
      <p:pic>
        <p:nvPicPr>
          <p:cNvPr id="93" name="Picture 18" descr="Immagine correlata">
            <a:extLst>
              <a:ext uri="{FF2B5EF4-FFF2-40B4-BE49-F238E27FC236}">
                <a16:creationId xmlns:a16="http://schemas.microsoft.com/office/drawing/2014/main" id="{2E30DE60-7DA4-4B97-9DAC-E03B30CCC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5885" y="4127618"/>
            <a:ext cx="1222972" cy="764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855348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endParaRPr lang="it-IT" sz="3467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9C1B249C-5FBB-EB41-A9B4-E44D0F56C0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3555" y="3548957"/>
            <a:ext cx="8161936" cy="1477957"/>
          </a:xfrm>
        </p:spPr>
        <p:txBody>
          <a:bodyPr/>
          <a:lstStyle/>
          <a:p>
            <a:r>
              <a:rPr lang="it-IT" sz="3600"/>
              <a:t>Torino </a:t>
            </a:r>
            <a:r>
              <a:rPr lang="it-IT" sz="3600" err="1"/>
              <a:t>Cities</a:t>
            </a:r>
            <a:r>
              <a:rPr lang="it-IT" sz="3600"/>
              <a:t> of the Future </a:t>
            </a:r>
            <a:br>
              <a:rPr lang="it-IT" sz="3600"/>
            </a:br>
            <a:r>
              <a:rPr lang="it-IT" sz="3600" err="1"/>
              <a:t>Techstars</a:t>
            </a:r>
            <a:r>
              <a:rPr lang="it-IT" sz="3600"/>
              <a:t> Accelerator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54426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04" y="1345159"/>
            <a:ext cx="12209313" cy="4796915"/>
          </a:xfrm>
          <a:prstGeom prst="rect">
            <a:avLst/>
          </a:prstGeom>
        </p:spPr>
      </p:pic>
      <p:sp>
        <p:nvSpPr>
          <p:cNvPr id="30" name="Rectangle 102">
            <a:extLst>
              <a:ext uri="{FF2B5EF4-FFF2-40B4-BE49-F238E27FC236}">
                <a16:creationId xmlns:a16="http://schemas.microsoft.com/office/drawing/2014/main" id="{D36B041D-1CAD-43CB-9E77-D5A1CDD4D31A}"/>
              </a:ext>
            </a:extLst>
          </p:cNvPr>
          <p:cNvSpPr>
            <a:spLocks/>
          </p:cNvSpPr>
          <p:nvPr/>
        </p:nvSpPr>
        <p:spPr>
          <a:xfrm>
            <a:off x="1330" y="1351353"/>
            <a:ext cx="12190581" cy="4796916"/>
          </a:xfrm>
          <a:prstGeom prst="rect">
            <a:avLst/>
          </a:prstGeom>
          <a:solidFill>
            <a:schemeClr val="tx1">
              <a:alpha val="1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36B041D-1CAD-43CB-9E77-D5A1CDD4D31A}"/>
              </a:ext>
            </a:extLst>
          </p:cNvPr>
          <p:cNvSpPr>
            <a:spLocks/>
          </p:cNvSpPr>
          <p:nvPr/>
        </p:nvSpPr>
        <p:spPr>
          <a:xfrm>
            <a:off x="-280" y="1353719"/>
            <a:ext cx="12207705" cy="4796916"/>
          </a:xfrm>
          <a:prstGeom prst="rect">
            <a:avLst/>
          </a:prstGeom>
          <a:solidFill>
            <a:srgbClr val="406B9B">
              <a:alpha val="54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it-IT" sz="1632" err="1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09E7B-D3F4-4AF7-9887-3B80DE77F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09E7B-D3F4-4AF7-9887-3B80DE77F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6294EB-BB30-405B-846C-F3579BB15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245" b="1">
              <a:solidFill>
                <a:prstClr val="black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45FDAE-9353-4AC6-94E1-D81AB9274D31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531367" y="366714"/>
            <a:ext cx="11364130" cy="3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it-IT" err="1"/>
              <a:t>Techstars</a:t>
            </a:r>
            <a:r>
              <a:rPr lang="it-IT"/>
              <a:t>, a Torino l’acceleratore sulla Smart City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2"/>
          </p:nvPr>
        </p:nvSpPr>
        <p:spPr>
          <a:xfrm>
            <a:off x="531369" y="860425"/>
            <a:ext cx="11066095" cy="584747"/>
          </a:xfrm>
        </p:spPr>
        <p:txBody>
          <a:bodyPr/>
          <a:lstStyle/>
          <a:p>
            <a:r>
              <a:rPr lang="it-IT" sz="2000"/>
              <a:t>Collaborazione strategica con Compagnia di San Paolo e Fondazione CRT</a:t>
            </a:r>
          </a:p>
          <a:p>
            <a:endParaRPr lang="it-IT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9A91B83-9BCC-4F60-B30A-A0A65951B4A3}"/>
              </a:ext>
            </a:extLst>
          </p:cNvPr>
          <p:cNvSpPr txBox="1">
            <a:spLocks/>
          </p:cNvSpPr>
          <p:nvPr/>
        </p:nvSpPr>
        <p:spPr bwMode="gray">
          <a:xfrm>
            <a:off x="9298094" y="2513278"/>
            <a:ext cx="2436983" cy="25211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632" b="1">
                <a:solidFill>
                  <a:prstClr val="white"/>
                </a:solidFill>
              </a:rPr>
              <a:t>Sviluppo di un ecosistema internazionale a Torino</a:t>
            </a:r>
          </a:p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632" b="1">
                <a:solidFill>
                  <a:prstClr val="white"/>
                </a:solidFill>
              </a:rPr>
              <a:t>Investimento in equity di startup e fondi innovativi</a:t>
            </a:r>
          </a:p>
          <a:p>
            <a:pPr defTabSz="1218095" fontAlgn="base">
              <a:spcBef>
                <a:spcPts val="1837"/>
              </a:spcBef>
              <a:spcAft>
                <a:spcPct val="0"/>
              </a:spcAft>
              <a:buClr>
                <a:prstClr val="white"/>
              </a:buClr>
            </a:pPr>
            <a:r>
              <a:rPr lang="it-IT" sz="1632" b="1">
                <a:solidFill>
                  <a:prstClr val="white"/>
                </a:solidFill>
              </a:rPr>
              <a:t>Valorizzare startup di eccellenza</a:t>
            </a:r>
          </a:p>
        </p:txBody>
      </p:sp>
      <p:sp>
        <p:nvSpPr>
          <p:cNvPr id="72" name="TextBox 67">
            <a:extLst>
              <a:ext uri="{FF2B5EF4-FFF2-40B4-BE49-F238E27FC236}">
                <a16:creationId xmlns:a16="http://schemas.microsoft.com/office/drawing/2014/main" id="{D1A45074-FCF0-4669-8082-889EC69D6E67}"/>
              </a:ext>
            </a:extLst>
          </p:cNvPr>
          <p:cNvSpPr txBox="1">
            <a:spLocks/>
          </p:cNvSpPr>
          <p:nvPr/>
        </p:nvSpPr>
        <p:spPr bwMode="gray">
          <a:xfrm>
            <a:off x="10122516" y="2414420"/>
            <a:ext cx="2208428" cy="25626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Century Gothic" panose="020B0502020202020204" pitchFamily="34" charset="0"/>
                <a:sym typeface="Century Gothic" panose="020B0502020202020204" pitchFamily="34" charset="0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1218095" fontAlgn="base">
              <a:spcBef>
                <a:spcPts val="612"/>
              </a:spcBef>
              <a:spcAft>
                <a:spcPct val="0"/>
              </a:spcAft>
              <a:buClr>
                <a:srgbClr val="44546A"/>
              </a:buClr>
            </a:pPr>
            <a:endParaRPr lang="it-IT" sz="1632">
              <a:solidFill>
                <a:prstClr val="white"/>
              </a:solidFill>
            </a:endParaRPr>
          </a:p>
        </p:txBody>
      </p:sp>
      <p:cxnSp>
        <p:nvCxnSpPr>
          <p:cNvPr id="14" name="Connettore 1 13"/>
          <p:cNvCxnSpPr/>
          <p:nvPr/>
        </p:nvCxnSpPr>
        <p:spPr>
          <a:xfrm>
            <a:off x="9298097" y="3413748"/>
            <a:ext cx="246201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ttore 1 119"/>
          <p:cNvCxnSpPr/>
          <p:nvPr/>
        </p:nvCxnSpPr>
        <p:spPr>
          <a:xfrm>
            <a:off x="9298095" y="4355128"/>
            <a:ext cx="246201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o 14"/>
          <p:cNvGrpSpPr/>
          <p:nvPr/>
        </p:nvGrpSpPr>
        <p:grpSpPr>
          <a:xfrm>
            <a:off x="5817747" y="1789781"/>
            <a:ext cx="2875047" cy="4306772"/>
            <a:chOff x="4511466" y="1650591"/>
            <a:chExt cx="2817813" cy="4221034"/>
          </a:xfrm>
        </p:grpSpPr>
        <p:sp>
          <p:nvSpPr>
            <p:cNvPr id="65" name="TextBox 103">
              <a:extLst>
                <a:ext uri="{FF2B5EF4-FFF2-40B4-BE49-F238E27FC236}">
                  <a16:creationId xmlns:a16="http://schemas.microsoft.com/office/drawing/2014/main" id="{59A91B83-9BCC-4F60-B30A-A0A65951B4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37205" y="1650591"/>
              <a:ext cx="2792074" cy="376898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1837"/>
                </a:spcBef>
                <a:spcAft>
                  <a:spcPct val="0"/>
                </a:spcAft>
                <a:buClr>
                  <a:prstClr val="white"/>
                </a:buClr>
              </a:pPr>
              <a:r>
                <a:rPr lang="it-IT" sz="2449" b="1" err="1">
                  <a:solidFill>
                    <a:prstClr val="white"/>
                  </a:solidFill>
                </a:rPr>
                <a:t>Techstars</a:t>
              </a:r>
              <a:endParaRPr lang="it-IT" sz="1735" b="1">
                <a:solidFill>
                  <a:prstClr val="white"/>
                </a:solidFill>
              </a:endParaRPr>
            </a:p>
          </p:txBody>
        </p:sp>
        <p:sp>
          <p:nvSpPr>
            <p:cNvPr id="115" name="TextBox 66">
              <a:extLst>
                <a:ext uri="{FF2B5EF4-FFF2-40B4-BE49-F238E27FC236}">
                  <a16:creationId xmlns:a16="http://schemas.microsoft.com/office/drawing/2014/main" id="{5261C0D8-8D42-482F-8602-9A0829993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30798" y="2268817"/>
              <a:ext cx="1699920" cy="723959"/>
            </a:xfrm>
            <a:prstGeom prst="rect">
              <a:avLst/>
            </a:prstGeom>
            <a:ln w="6350">
              <a:noFill/>
            </a:ln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2400" b="1">
                  <a:solidFill>
                    <a:schemeClr val="bg1">
                      <a:lumMod val="95000"/>
                    </a:schemeClr>
                  </a:solidFill>
                  <a:latin typeface="Century Gothic"/>
                </a:rPr>
                <a:t>3.300 </a:t>
              </a:r>
              <a:br>
                <a:rPr lang="it-IT" sz="2400" b="1">
                  <a:solidFill>
                    <a:schemeClr val="bg1">
                      <a:lumMod val="95000"/>
                    </a:schemeClr>
                  </a:solidFill>
                  <a:latin typeface="Century Gothic"/>
                </a:rPr>
              </a:br>
              <a:r>
                <a:rPr lang="it-IT" sz="1600">
                  <a:solidFill>
                    <a:schemeClr val="bg1">
                      <a:lumMod val="95000"/>
                    </a:schemeClr>
                  </a:solidFill>
                  <a:latin typeface="Century Gothic"/>
                </a:rPr>
                <a:t>Total companies</a:t>
              </a:r>
              <a:r>
                <a:rPr lang="it-IT" sz="2400" b="1">
                  <a:solidFill>
                    <a:schemeClr val="bg1">
                      <a:lumMod val="95000"/>
                    </a:schemeClr>
                  </a:solidFill>
                  <a:latin typeface="Century Gothic"/>
                </a:rPr>
                <a:t> </a:t>
              </a:r>
              <a:endParaRPr lang="it-IT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6" name="TextBox 66">
              <a:extLst>
                <a:ext uri="{FF2B5EF4-FFF2-40B4-BE49-F238E27FC236}">
                  <a16:creationId xmlns:a16="http://schemas.microsoft.com/office/drawing/2014/main" id="{5261C0D8-8D42-482F-8602-9A0829993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30798" y="3222647"/>
              <a:ext cx="2388474" cy="615554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2449" b="1">
                  <a:solidFill>
                    <a:prstClr val="white"/>
                  </a:solidFill>
                </a:rPr>
                <a:t>48</a:t>
              </a:r>
              <a:br>
                <a:rPr lang="it-IT" sz="1632">
                  <a:solidFill>
                    <a:prstClr val="white"/>
                  </a:solidFill>
                </a:rPr>
              </a:br>
              <a:r>
                <a:rPr lang="it-IT" sz="1632">
                  <a:solidFill>
                    <a:prstClr val="white"/>
                  </a:solidFill>
                </a:rPr>
                <a:t>Acceleratori in 16 paesi</a:t>
              </a:r>
              <a:endParaRPr lang="it-IT" sz="2449" b="1">
                <a:solidFill>
                  <a:prstClr val="white"/>
                </a:solidFill>
              </a:endParaRPr>
            </a:p>
          </p:txBody>
        </p:sp>
        <p:sp>
          <p:nvSpPr>
            <p:cNvPr id="118" name="TextBox 66">
              <a:extLst>
                <a:ext uri="{FF2B5EF4-FFF2-40B4-BE49-F238E27FC236}">
                  <a16:creationId xmlns:a16="http://schemas.microsoft.com/office/drawing/2014/main" id="{5261C0D8-8D42-482F-8602-9A0829993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30798" y="4934501"/>
              <a:ext cx="1905735" cy="937124"/>
            </a:xfrm>
            <a:prstGeom prst="rect">
              <a:avLst/>
            </a:prstGeom>
            <a:ln w="6350">
              <a:noFill/>
            </a:ln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2449" b="1">
                  <a:solidFill>
                    <a:prstClr val="white"/>
                  </a:solidFill>
                </a:rPr>
                <a:t>20</a:t>
              </a:r>
            </a:p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1632">
                  <a:solidFill>
                    <a:prstClr val="white"/>
                  </a:solidFill>
                </a:rPr>
                <a:t>Unicorni generati </a:t>
              </a:r>
              <a:br>
                <a:rPr lang="it-IT" sz="1632">
                  <a:solidFill>
                    <a:prstClr val="white"/>
                  </a:solidFill>
                </a:rPr>
              </a:br>
              <a:r>
                <a:rPr lang="it-IT" sz="1632">
                  <a:solidFill>
                    <a:prstClr val="white"/>
                  </a:solidFill>
                </a:rPr>
                <a:t>dai programmi int.li</a:t>
              </a:r>
            </a:p>
          </p:txBody>
        </p:sp>
        <p:sp>
          <p:nvSpPr>
            <p:cNvPr id="119" name="TextBox 66">
              <a:extLst>
                <a:ext uri="{FF2B5EF4-FFF2-40B4-BE49-F238E27FC236}">
                  <a16:creationId xmlns:a16="http://schemas.microsoft.com/office/drawing/2014/main" id="{5261C0D8-8D42-482F-8602-9A0829993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30798" y="3993893"/>
              <a:ext cx="1187826" cy="705001"/>
            </a:xfrm>
            <a:prstGeom prst="rect">
              <a:avLst/>
            </a:prstGeom>
            <a:ln w="6350">
              <a:noFill/>
            </a:ln>
          </p:spPr>
          <p:txBody>
            <a:bodyPr vert="horz" wrap="non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1pPr>
              <a:lvl2pPr marL="258246" lvl="1" indent="-25613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Century Gothic" panose="020B0502020202020204" pitchFamily="34" charset="0"/>
                  <a:sym typeface="Century Gothic" panose="020B0502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2449" b="1">
                  <a:solidFill>
                    <a:prstClr val="white"/>
                  </a:solidFill>
                </a:rPr>
                <a:t>$96.6</a:t>
              </a:r>
              <a:r>
                <a:rPr lang="it-IT" sz="1632">
                  <a:solidFill>
                    <a:prstClr val="white"/>
                  </a:solidFill>
                </a:rPr>
                <a:t>bn </a:t>
              </a:r>
            </a:p>
            <a:p>
              <a:pPr defTabSz="1218095" fontAlgn="base">
                <a:spcBef>
                  <a:spcPts val="612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it-IT" sz="1632">
                  <a:solidFill>
                    <a:prstClr val="white"/>
                  </a:solidFill>
                </a:rPr>
                <a:t>Market </a:t>
              </a:r>
              <a:r>
                <a:rPr lang="it-IT" sz="1632" err="1">
                  <a:solidFill>
                    <a:prstClr val="white"/>
                  </a:solidFill>
                </a:rPr>
                <a:t>cap</a:t>
              </a:r>
              <a:endParaRPr lang="it-IT" sz="1632">
                <a:solidFill>
                  <a:prstClr val="white"/>
                </a:solidFill>
              </a:endParaRPr>
            </a:p>
          </p:txBody>
        </p:sp>
        <p:cxnSp>
          <p:nvCxnSpPr>
            <p:cNvPr id="122" name="Connettore 1 121"/>
            <p:cNvCxnSpPr/>
            <p:nvPr/>
          </p:nvCxnSpPr>
          <p:spPr>
            <a:xfrm>
              <a:off x="4511466" y="3054634"/>
              <a:ext cx="2412998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ttore 1 122"/>
            <p:cNvCxnSpPr/>
            <p:nvPr/>
          </p:nvCxnSpPr>
          <p:spPr>
            <a:xfrm>
              <a:off x="4511466" y="3949531"/>
              <a:ext cx="2412998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ttore 1 123"/>
            <p:cNvCxnSpPr/>
            <p:nvPr/>
          </p:nvCxnSpPr>
          <p:spPr>
            <a:xfrm>
              <a:off x="4537205" y="4829128"/>
              <a:ext cx="2412998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Immagine 6">
            <a:extLst>
              <a:ext uri="{FF2B5EF4-FFF2-40B4-BE49-F238E27FC236}">
                <a16:creationId xmlns:a16="http://schemas.microsoft.com/office/drawing/2014/main" id="{AB9EAF60-44B8-7045-B4B2-4AD91436D2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5700" y="1436505"/>
            <a:ext cx="5357238" cy="450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Gruppo 36">
            <a:extLst>
              <a:ext uri="{FF2B5EF4-FFF2-40B4-BE49-F238E27FC236}">
                <a16:creationId xmlns:a16="http://schemas.microsoft.com/office/drawing/2014/main" id="{5F82CE2C-1131-C64C-BD31-E65EB88051C5}"/>
              </a:ext>
            </a:extLst>
          </p:cNvPr>
          <p:cNvGrpSpPr/>
          <p:nvPr/>
        </p:nvGrpSpPr>
        <p:grpSpPr>
          <a:xfrm>
            <a:off x="8774947" y="1872535"/>
            <a:ext cx="181403" cy="3924929"/>
            <a:chOff x="5716599" y="1991958"/>
            <a:chExt cx="177792" cy="3457291"/>
          </a:xfrm>
        </p:grpSpPr>
        <p:cxnSp>
          <p:nvCxnSpPr>
            <p:cNvPr id="38" name="Straight Connector 81">
              <a:extLst>
                <a:ext uri="{FF2B5EF4-FFF2-40B4-BE49-F238E27FC236}">
                  <a16:creationId xmlns:a16="http://schemas.microsoft.com/office/drawing/2014/main" id="{E695DCC0-D0EF-904F-9A1D-BC7E2105B6AD}"/>
                </a:ext>
              </a:extLst>
            </p:cNvPr>
            <p:cNvCxnSpPr>
              <a:cxnSpLocks/>
            </p:cNvCxnSpPr>
            <p:nvPr/>
          </p:nvCxnSpPr>
          <p:spPr>
            <a:xfrm>
              <a:off x="5772350" y="1991958"/>
              <a:ext cx="0" cy="1216062"/>
            </a:xfrm>
            <a:prstGeom prst="lin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</p:cxnSp>
        <p:grpSp>
          <p:nvGrpSpPr>
            <p:cNvPr id="39" name="Group 19">
              <a:extLst>
                <a:ext uri="{FF2B5EF4-FFF2-40B4-BE49-F238E27FC236}">
                  <a16:creationId xmlns:a16="http://schemas.microsoft.com/office/drawing/2014/main" id="{02BC1595-F787-FE4E-AF8E-B2F05980464B}"/>
                </a:ext>
              </a:extLst>
            </p:cNvPr>
            <p:cNvGrpSpPr/>
            <p:nvPr/>
          </p:nvGrpSpPr>
          <p:grpSpPr bwMode="gray">
            <a:xfrm>
              <a:off x="5716599" y="3499347"/>
              <a:ext cx="177792" cy="420688"/>
              <a:chOff x="6780822" y="3385011"/>
              <a:chExt cx="241420" cy="286607"/>
            </a:xfrm>
          </p:grpSpPr>
          <p:sp>
            <p:nvSpPr>
              <p:cNvPr id="41" name="Isosceles Triangle 20">
                <a:extLst>
                  <a:ext uri="{FF2B5EF4-FFF2-40B4-BE49-F238E27FC236}">
                    <a16:creationId xmlns:a16="http://schemas.microsoft.com/office/drawing/2014/main" id="{F1CD38B5-E4D0-4441-90A1-3AF1179F1417}"/>
                  </a:ext>
                </a:extLst>
              </p:cNvPr>
              <p:cNvSpPr/>
              <p:nvPr/>
            </p:nvSpPr>
            <p:spPr bwMode="gray">
              <a:xfrm rot="5400000">
                <a:off x="6790912" y="3440289"/>
                <a:ext cx="286607" cy="176052"/>
              </a:xfrm>
              <a:prstGeom prst="triangle">
                <a:avLst/>
              </a:prstGeom>
              <a:solidFill>
                <a:srgbClr val="C0CCE4">
                  <a:alpha val="7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96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3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2" name="Isosceles Triangle 21">
                <a:extLst>
                  <a:ext uri="{FF2B5EF4-FFF2-40B4-BE49-F238E27FC236}">
                    <a16:creationId xmlns:a16="http://schemas.microsoft.com/office/drawing/2014/main" id="{B65DE016-CF03-0E46-860F-654604467BDF}"/>
                  </a:ext>
                </a:extLst>
              </p:cNvPr>
              <p:cNvSpPr/>
              <p:nvPr/>
            </p:nvSpPr>
            <p:spPr bwMode="gray">
              <a:xfrm rot="5400000">
                <a:off x="6732253" y="3450970"/>
                <a:ext cx="251830" cy="154691"/>
              </a:xfrm>
              <a:prstGeom prst="triangle">
                <a:avLst/>
              </a:prstGeom>
              <a:solidFill>
                <a:srgbClr val="406B9B">
                  <a:alpha val="7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296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3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40" name="Straight Connector 81">
              <a:extLst>
                <a:ext uri="{FF2B5EF4-FFF2-40B4-BE49-F238E27FC236}">
                  <a16:creationId xmlns:a16="http://schemas.microsoft.com/office/drawing/2014/main" id="{32EB6B50-08A0-6C44-9E47-ED2FC9CBF428}"/>
                </a:ext>
              </a:extLst>
            </p:cNvPr>
            <p:cNvCxnSpPr>
              <a:cxnSpLocks/>
            </p:cNvCxnSpPr>
            <p:nvPr/>
          </p:nvCxnSpPr>
          <p:spPr>
            <a:xfrm>
              <a:off x="5776814" y="4160293"/>
              <a:ext cx="0" cy="1288956"/>
            </a:xfrm>
            <a:prstGeom prst="lin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119368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>
            <a:extLst>
              <a:ext uri="{FF2B5EF4-FFF2-40B4-BE49-F238E27FC236}">
                <a16:creationId xmlns:a16="http://schemas.microsoft.com/office/drawing/2014/main" id="{15EE441E-2EE1-4F8D-A518-BA9D0428C23B}"/>
              </a:ext>
            </a:extLst>
          </p:cNvPr>
          <p:cNvGrpSpPr/>
          <p:nvPr/>
        </p:nvGrpSpPr>
        <p:grpSpPr>
          <a:xfrm>
            <a:off x="2462191" y="1442329"/>
            <a:ext cx="7267618" cy="4625186"/>
            <a:chOff x="1608219" y="1474411"/>
            <a:chExt cx="7267618" cy="4625186"/>
          </a:xfrm>
        </p:grpSpPr>
        <p:sp>
          <p:nvSpPr>
            <p:cNvPr id="23" name="Shape 207" descr="Circle">
              <a:extLst>
                <a:ext uri="{FF2B5EF4-FFF2-40B4-BE49-F238E27FC236}">
                  <a16:creationId xmlns:a16="http://schemas.microsoft.com/office/drawing/2014/main" id="{259ECD1E-2B5A-464F-8CD1-8C072AA26D31}"/>
                </a:ext>
              </a:extLst>
            </p:cNvPr>
            <p:cNvSpPr/>
            <p:nvPr/>
          </p:nvSpPr>
          <p:spPr>
            <a:xfrm>
              <a:off x="3912711" y="1637853"/>
              <a:ext cx="2863809" cy="2863807"/>
            </a:xfrm>
            <a:prstGeom prst="ellipse">
              <a:avLst/>
            </a:prstGeom>
            <a:solidFill>
              <a:srgbClr val="406B9B"/>
            </a:solidFill>
            <a:ln w="12700">
              <a:noFill/>
              <a:miter lim="400000"/>
            </a:ln>
          </p:spPr>
          <p:txBody>
            <a:bodyPr lIns="25400" tIns="25400" rIns="25400" bIns="25400" anchor="ctr"/>
            <a:lstStyle/>
            <a:p>
              <a:pPr defTabSz="154771">
                <a:defRPr sz="1200">
                  <a:solidFill>
                    <a:srgbClr val="FFFFFF"/>
                  </a:solidFill>
                </a:defRPr>
              </a:pPr>
              <a:endParaRPr sz="60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8CA1FB75-91B9-43F0-B118-197368FE1B37}"/>
                </a:ext>
              </a:extLst>
            </p:cNvPr>
            <p:cNvSpPr txBox="1"/>
            <p:nvPr/>
          </p:nvSpPr>
          <p:spPr>
            <a:xfrm>
              <a:off x="3968295" y="2984152"/>
              <a:ext cx="2788673" cy="6067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>
                  <a:solidFill>
                    <a:srgbClr val="FFFFFF"/>
                  </a:solidFill>
                  <a:latin typeface="Century Gothic" panose="020B0502020202020204" pitchFamily="34" charset="0"/>
                </a:rPr>
                <a:t>AGGREGATORE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>
                  <a:solidFill>
                    <a:srgbClr val="FFFFFF"/>
                  </a:solidFill>
                  <a:latin typeface="Century Gothic" panose="020B0502020202020204" pitchFamily="34" charset="0"/>
                </a:rPr>
                <a:t>DI ECOSISTEMI</a:t>
              </a:r>
            </a:p>
          </p:txBody>
        </p:sp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B5C48C11-223C-440D-AF40-ABE8D1903D63}"/>
                </a:ext>
              </a:extLst>
            </p:cNvPr>
            <p:cNvSpPr txBox="1"/>
            <p:nvPr/>
          </p:nvSpPr>
          <p:spPr>
            <a:xfrm>
              <a:off x="6600494" y="1619816"/>
              <a:ext cx="1907742" cy="596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CORPORATE E </a:t>
              </a:r>
              <a:b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</a:b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PMI ITALIANE </a:t>
              </a: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B975AD8C-7DCC-408D-AFB5-0C4EAA644D0E}"/>
                </a:ext>
              </a:extLst>
            </p:cNvPr>
            <p:cNvSpPr txBox="1"/>
            <p:nvPr/>
          </p:nvSpPr>
          <p:spPr>
            <a:xfrm>
              <a:off x="6263263" y="3738319"/>
              <a:ext cx="2612574" cy="3454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ISTITUZIONI</a:t>
              </a: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432168CC-29FF-480F-AC7E-D4CB6199EA16}"/>
                </a:ext>
              </a:extLst>
            </p:cNvPr>
            <p:cNvSpPr txBox="1"/>
            <p:nvPr/>
          </p:nvSpPr>
          <p:spPr>
            <a:xfrm>
              <a:off x="4244421" y="4979171"/>
              <a:ext cx="2391204" cy="596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UNIVERSITÀ E </a:t>
              </a:r>
              <a:br>
                <a:rPr lang="it-IT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</a:br>
              <a:r>
                <a:rPr lang="it-IT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CENTRI DI RICERCA</a:t>
              </a:r>
              <a:endParaRPr lang="en-US" sz="1600" b="1" kern="0">
                <a:solidFill>
                  <a:srgbClr val="406B9B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0561F708-5AAD-4628-8AEF-1A88FC04CD44}"/>
                </a:ext>
              </a:extLst>
            </p:cNvPr>
            <p:cNvSpPr txBox="1"/>
            <p:nvPr/>
          </p:nvSpPr>
          <p:spPr>
            <a:xfrm>
              <a:off x="1727315" y="1648709"/>
              <a:ext cx="2204975" cy="596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  <a:sym typeface="Century Gothic" panose="020B0502020202020204" pitchFamily="34" charset="0"/>
                </a:rPr>
                <a:t>GRUPPO 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  <a:sym typeface="Century Gothic" panose="020B0502020202020204" pitchFamily="34" charset="0"/>
                </a:rPr>
                <a:t>INTESA SANPAOLO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8F74CEFB-8B2F-45C1-BC9E-D66F8E518556}"/>
                </a:ext>
              </a:extLst>
            </p:cNvPr>
            <p:cNvSpPr txBox="1"/>
            <p:nvPr/>
          </p:nvSpPr>
          <p:spPr>
            <a:xfrm>
              <a:off x="1678669" y="3464820"/>
              <a:ext cx="2188603" cy="1350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kern="0">
                  <a:solidFill>
                    <a:srgbClr val="406B9B"/>
                  </a:solidFill>
                  <a:latin typeface="Century Gothic" panose="020B0502020202020204" pitchFamily="34" charset="0"/>
                </a:rPr>
                <a:t>NETWORK INTERNAZIONALE INTESA SANPAOLO INNOVATION CENTER</a:t>
              </a: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32078254-14B1-4228-8D3E-855B617BE74B}"/>
                </a:ext>
              </a:extLst>
            </p:cNvPr>
            <p:cNvSpPr txBox="1"/>
            <p:nvPr/>
          </p:nvSpPr>
          <p:spPr>
            <a:xfrm>
              <a:off x="1608219" y="4740704"/>
              <a:ext cx="2393613" cy="973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>
                  <a:solidFill>
                    <a:srgbClr val="000000"/>
                  </a:solidFill>
                  <a:latin typeface="Century Gothic" panose="020B0502020202020204" pitchFamily="34" charset="0"/>
                </a:rPr>
                <a:t>Eventi con startup internazionali, Corporate HUB internazionali Intesa Sanpaolo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845C89BF-F1B1-43B7-BC5A-831D6BE01CE1}"/>
                </a:ext>
              </a:extLst>
            </p:cNvPr>
            <p:cNvSpPr txBox="1"/>
            <p:nvPr/>
          </p:nvSpPr>
          <p:spPr>
            <a:xfrm>
              <a:off x="6279341" y="4041567"/>
              <a:ext cx="2580420" cy="5338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>
                  <a:solidFill>
                    <a:srgbClr val="000000"/>
                  </a:solidFill>
                  <a:latin typeface="Century Gothic" panose="020B0502020202020204" pitchFamily="34" charset="0"/>
                </a:rPr>
                <a:t>Torino e municipalità italiane, Governo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7A06ECFD-F4DC-49FB-9D01-86035FBF9866}"/>
                </a:ext>
              </a:extLst>
            </p:cNvPr>
            <p:cNvSpPr txBox="1"/>
            <p:nvPr/>
          </p:nvSpPr>
          <p:spPr>
            <a:xfrm>
              <a:off x="3791145" y="5565749"/>
              <a:ext cx="3162312" cy="5338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>
                  <a:solidFill>
                    <a:srgbClr val="000000"/>
                  </a:solidFill>
                  <a:latin typeface="Century Gothic" panose="020B0502020202020204" pitchFamily="34" charset="0"/>
                </a:rPr>
                <a:t>IMT Scuola Alti Studi Lucca, 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>
                  <a:solidFill>
                    <a:srgbClr val="000000"/>
                  </a:solidFill>
                  <a:latin typeface="Century Gothic" panose="020B0502020202020204" pitchFamily="34" charset="0"/>
                </a:rPr>
                <a:t>Unito, Polito, </a:t>
              </a:r>
              <a:r>
                <a:rPr lang="it-IT" sz="140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olimi</a:t>
              </a:r>
              <a:r>
                <a:rPr lang="it-IT" sz="140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</a:p>
          </p:txBody>
        </p:sp>
        <p:sp>
          <p:nvSpPr>
            <p:cNvPr id="12" name="Ovale 11"/>
            <p:cNvSpPr/>
            <p:nvPr/>
          </p:nvSpPr>
          <p:spPr>
            <a:xfrm>
              <a:off x="6322336" y="2992140"/>
              <a:ext cx="859339" cy="859339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" name="Immagine 6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0554" y="3217901"/>
              <a:ext cx="402903" cy="407817"/>
            </a:xfrm>
            <a:prstGeom prst="rect">
              <a:avLst/>
            </a:prstGeom>
          </p:spPr>
        </p:pic>
        <p:sp>
          <p:nvSpPr>
            <p:cNvPr id="39" name="Ovale 38"/>
            <p:cNvSpPr/>
            <p:nvPr/>
          </p:nvSpPr>
          <p:spPr>
            <a:xfrm>
              <a:off x="4974848" y="4048999"/>
              <a:ext cx="859339" cy="859339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8" name="Picture 9" descr="https://static.thenounproject.com/png/2934059-200.png">
              <a:extLst>
                <a:ext uri="{FF2B5EF4-FFF2-40B4-BE49-F238E27FC236}">
                  <a16:creationId xmlns:a16="http://schemas.microsoft.com/office/drawing/2014/main" id="{5ECEEDD3-B3DB-409D-A631-56A8418C4C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duotone>
                <a:srgbClr val="406B9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8552" y="4182702"/>
              <a:ext cx="591932" cy="591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Ovale 39"/>
            <p:cNvSpPr/>
            <p:nvPr/>
          </p:nvSpPr>
          <p:spPr>
            <a:xfrm>
              <a:off x="3544115" y="3058776"/>
              <a:ext cx="859339" cy="859339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Ovale 40"/>
            <p:cNvSpPr/>
            <p:nvPr/>
          </p:nvSpPr>
          <p:spPr>
            <a:xfrm>
              <a:off x="5822001" y="1480894"/>
              <a:ext cx="859339" cy="859339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Ovale 41"/>
            <p:cNvSpPr/>
            <p:nvPr/>
          </p:nvSpPr>
          <p:spPr>
            <a:xfrm>
              <a:off x="4092431" y="1474411"/>
              <a:ext cx="859339" cy="859339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406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3" name="Immagine 42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9872" y="1648709"/>
              <a:ext cx="563596" cy="523711"/>
            </a:xfrm>
            <a:prstGeom prst="rect">
              <a:avLst/>
            </a:prstGeom>
          </p:spPr>
        </p:pic>
        <p:pic>
          <p:nvPicPr>
            <p:cNvPr id="44" name="Immagine 4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05296" y="3238572"/>
              <a:ext cx="536979" cy="499747"/>
            </a:xfrm>
            <a:prstGeom prst="rect">
              <a:avLst/>
            </a:prstGeom>
          </p:spPr>
        </p:pic>
        <p:pic>
          <p:nvPicPr>
            <p:cNvPr id="46" name="Immagine 45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36942" y="1718727"/>
              <a:ext cx="396235" cy="370708"/>
            </a:xfrm>
            <a:prstGeom prst="rect">
              <a:avLst/>
            </a:prstGeom>
          </p:spPr>
        </p:pic>
        <p:pic>
          <p:nvPicPr>
            <p:cNvPr id="36" name="Immagine 4">
              <a:hlinkClick r:id="rId8" action="ppaction://hlinksldjump"/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268956" y="2569548"/>
              <a:ext cx="2249074" cy="328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olo 13"/>
          <p:cNvSpPr>
            <a:spLocks noGrp="1"/>
          </p:cNvSpPr>
          <p:nvPr>
            <p:ph type="ctrTitle"/>
          </p:nvPr>
        </p:nvSpPr>
        <p:spPr>
          <a:xfrm>
            <a:off x="531367" y="366714"/>
            <a:ext cx="10363047" cy="408237"/>
          </a:xfrm>
        </p:spPr>
        <p:txBody>
          <a:bodyPr/>
          <a:lstStyle/>
          <a:p>
            <a:r>
              <a:rPr lang="it-IT" altLang="it-IT">
                <a:cs typeface="Arial" panose="020B0604020202020204" pitchFamily="34" charset="0"/>
              </a:rPr>
              <a:t>Il ruolo di Intesa Sanpaolo </a:t>
            </a:r>
            <a:r>
              <a:rPr lang="it-IT" altLang="it-IT" err="1">
                <a:cs typeface="Arial" panose="020B0604020202020204" pitchFamily="34" charset="0"/>
              </a:rPr>
              <a:t>Innovation</a:t>
            </a:r>
            <a:r>
              <a:rPr lang="it-IT" altLang="it-IT">
                <a:cs typeface="Arial" panose="020B0604020202020204" pitchFamily="34" charset="0"/>
              </a:rPr>
              <a:t> Center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71791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8C1B8DA0-F984-C347-BBD3-792860BD0ECA}"/>
              </a:ext>
            </a:extLst>
          </p:cNvPr>
          <p:cNvSpPr txBox="1">
            <a:spLocks/>
          </p:cNvSpPr>
          <p:nvPr/>
        </p:nvSpPr>
        <p:spPr>
          <a:xfrm>
            <a:off x="2159059" y="3475567"/>
            <a:ext cx="8563907" cy="935552"/>
          </a:xfrm>
          <a:prstGeom prst="rect">
            <a:avLst/>
          </a:prstGeom>
        </p:spPr>
        <p:txBody>
          <a:bodyPr lIns="0" tIns="0" rIns="0" bIns="0"/>
          <a:lstStyle/>
          <a:p>
            <a:pPr defTabSz="932962">
              <a:spcBef>
                <a:spcPct val="0"/>
              </a:spcBef>
              <a:defRPr/>
            </a:pPr>
            <a:endParaRPr lang="it-IT" sz="3467" b="1">
              <a:solidFill>
                <a:srgbClr val="003A79"/>
              </a:solidFill>
              <a:latin typeface="Century Gothic" pitchFamily="34" charset="0"/>
              <a:cs typeface="Arial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50BE014F-6B6F-E344-ADB3-124AB6DA83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600"/>
              <a:t>Il Gruppo Intesa Sanpa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0162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151"/>
          <a:stretch/>
        </p:blipFill>
        <p:spPr>
          <a:xfrm>
            <a:off x="4903888" y="-9995"/>
            <a:ext cx="7288023" cy="4775258"/>
          </a:xfrm>
          <a:prstGeom prst="parallelogram">
            <a:avLst>
              <a:gd name="adj" fmla="val 0"/>
            </a:avLst>
          </a:prstGeom>
        </p:spPr>
      </p:pic>
      <p:sp>
        <p:nvSpPr>
          <p:cNvPr id="3" name="Rettangolo 2"/>
          <p:cNvSpPr/>
          <p:nvPr/>
        </p:nvSpPr>
        <p:spPr>
          <a:xfrm>
            <a:off x="404827" y="1009933"/>
            <a:ext cx="3248005" cy="5320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2857" b="0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rontier Research</a:t>
            </a:r>
          </a:p>
        </p:txBody>
      </p:sp>
      <p:cxnSp>
        <p:nvCxnSpPr>
          <p:cNvPr id="18" name="Connettore 1 17"/>
          <p:cNvCxnSpPr/>
          <p:nvPr/>
        </p:nvCxnSpPr>
        <p:spPr>
          <a:xfrm>
            <a:off x="450084" y="5833863"/>
            <a:ext cx="113565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/>
          <p:cNvSpPr/>
          <p:nvPr/>
        </p:nvSpPr>
        <p:spPr>
          <a:xfrm>
            <a:off x="390017" y="5151512"/>
            <a:ext cx="2814027" cy="34536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novation Intelligence</a:t>
            </a: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3585333" y="5152450"/>
            <a:ext cx="1621622" cy="343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euroscience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5588244" y="5152450"/>
            <a:ext cx="2343378" cy="343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rtificial</a:t>
            </a: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telligence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9784601" y="5026871"/>
            <a:ext cx="1930793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limate</a:t>
            </a: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hange</a:t>
            </a: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&amp; New </a:t>
            </a: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terials</a:t>
            </a:r>
            <a:endParaRPr kumimoji="0" lang="it-IT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DB1307A7-98A1-D84A-8D70-954767B52BA8}"/>
              </a:ext>
            </a:extLst>
          </p:cNvPr>
          <p:cNvSpPr/>
          <p:nvPr/>
        </p:nvSpPr>
        <p:spPr>
          <a:xfrm>
            <a:off x="4809968" y="-14130"/>
            <a:ext cx="4763816" cy="4788430"/>
          </a:xfrm>
          <a:prstGeom prst="rect">
            <a:avLst/>
          </a:prstGeom>
          <a:gradFill>
            <a:gsLst>
              <a:gs pos="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14" name="Connettore 1 13">
            <a:extLst>
              <a:ext uri="{FF2B5EF4-FFF2-40B4-BE49-F238E27FC236}">
                <a16:creationId xmlns:a16="http://schemas.microsoft.com/office/drawing/2014/main" id="{8F0716A1-B717-5048-BA38-A15E6B1F5E0C}"/>
              </a:ext>
            </a:extLst>
          </p:cNvPr>
          <p:cNvCxnSpPr>
            <a:cxnSpLocks/>
          </p:cNvCxnSpPr>
          <p:nvPr/>
        </p:nvCxnSpPr>
        <p:spPr>
          <a:xfrm>
            <a:off x="450084" y="4769398"/>
            <a:ext cx="117418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ttangolo 25">
            <a:extLst>
              <a:ext uri="{FF2B5EF4-FFF2-40B4-BE49-F238E27FC236}">
                <a16:creationId xmlns:a16="http://schemas.microsoft.com/office/drawing/2014/main" id="{41F4B8BD-22DA-48FA-B15C-36E96093AD67}"/>
              </a:ext>
            </a:extLst>
          </p:cNvPr>
          <p:cNvSpPr/>
          <p:nvPr/>
        </p:nvSpPr>
        <p:spPr>
          <a:xfrm>
            <a:off x="8312911" y="5152450"/>
            <a:ext cx="1090402" cy="343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botics</a:t>
            </a:r>
            <a:endParaRPr kumimoji="0" lang="it-IT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BD91DE48-D2BB-4225-AD2B-F609F494E3F0}"/>
              </a:ext>
            </a:extLst>
          </p:cNvPr>
          <p:cNvSpPr/>
          <p:nvPr/>
        </p:nvSpPr>
        <p:spPr>
          <a:xfrm>
            <a:off x="404826" y="1850940"/>
            <a:ext cx="4527659" cy="2636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alizziamo </a:t>
            </a:r>
            <a:r>
              <a:rPr lang="it-IT" sz="1837" b="1">
                <a:solidFill>
                  <a:srgbClr val="000000"/>
                </a:solidFill>
                <a:latin typeface="Century Gothic" panose="020B0502020202020204" pitchFamily="34" charset="0"/>
              </a:rPr>
              <a:t>trend e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gatrend,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b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eneriamo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now-how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ttraverso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getti multidisciplinari di ricerca applicata,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romuoviamo il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rasferimento tecnologico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 sviluppiamo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uovi asset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 soluzioni per il Gruppo e i nostri clienti </a:t>
            </a:r>
            <a:r>
              <a:rPr lang="it-IT" sz="1837">
                <a:solidFill>
                  <a:srgbClr val="000000"/>
                </a:solidFill>
                <a:latin typeface="Century Gothic" panose="020B0502020202020204" pitchFamily="34" charset="0"/>
              </a:rPr>
              <a:t>valorizzando il ruolo dell’Innovation Center come orchestratore di innovazione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2938232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itolo 1">
            <a:extLst>
              <a:ext uri="{FF2B5EF4-FFF2-40B4-BE49-F238E27FC236}">
                <a16:creationId xmlns:a16="http://schemas.microsoft.com/office/drawing/2014/main" id="{4A40B28C-7A62-4A0C-9D22-0A33B8BB1B0E}"/>
              </a:ext>
            </a:extLst>
          </p:cNvPr>
          <p:cNvSpPr txBox="1">
            <a:spLocks/>
          </p:cNvSpPr>
          <p:nvPr/>
        </p:nvSpPr>
        <p:spPr bwMode="auto">
          <a:xfrm>
            <a:off x="450167" y="360091"/>
            <a:ext cx="7425048" cy="357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0" eaLnBrk="1" hangingPunct="1">
              <a:defRPr/>
            </a:pPr>
            <a:endParaRPr lang="it-IT" altLang="it-IT" sz="2669" b="1">
              <a:solidFill>
                <a:srgbClr val="003A79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5">
            <a:extLst>
              <a:ext uri="{FF2B5EF4-FFF2-40B4-BE49-F238E27FC236}">
                <a16:creationId xmlns:a16="http://schemas.microsoft.com/office/drawing/2014/main" id="{4B73A6C9-F4C5-4860-8C17-4F74B1E687FD}"/>
              </a:ext>
            </a:extLst>
          </p:cNvPr>
          <p:cNvSpPr/>
          <p:nvPr/>
        </p:nvSpPr>
        <p:spPr>
          <a:xfrm>
            <a:off x="2645309" y="3572640"/>
            <a:ext cx="1831123" cy="71160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446,8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d</a:t>
            </a:r>
            <a:b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</a:br>
            <a:r>
              <a:rPr lang="en-GB" altLang="en-US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Finanziamenti</a:t>
            </a:r>
            <a:r>
              <a:rPr lang="en-GB" altLang="en-US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  <a:r>
              <a:rPr lang="en-GB" altLang="en-US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erogati</a:t>
            </a:r>
            <a:endParaRPr lang="en-GB" altLang="en-US" sz="1428" b="1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4" name="Rettangolo 9">
            <a:extLst>
              <a:ext uri="{FF2B5EF4-FFF2-40B4-BE49-F238E27FC236}">
                <a16:creationId xmlns:a16="http://schemas.microsoft.com/office/drawing/2014/main" id="{509AC438-7BC4-4EA1-A1FE-4C6C36FFC4BC}"/>
              </a:ext>
            </a:extLst>
          </p:cNvPr>
          <p:cNvSpPr/>
          <p:nvPr/>
        </p:nvSpPr>
        <p:spPr>
          <a:xfrm>
            <a:off x="525334" y="5058786"/>
            <a:ext cx="2338847" cy="711605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61,6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d</a:t>
            </a:r>
            <a:b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</a:br>
            <a:r>
              <a:rPr lang="en-GB" altLang="en-US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Shareholder’s Equity</a:t>
            </a:r>
            <a:endParaRPr lang="en-GB" sz="1428" b="1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0" name="Rettangolo 35">
            <a:extLst>
              <a:ext uri="{FF2B5EF4-FFF2-40B4-BE49-F238E27FC236}">
                <a16:creationId xmlns:a16="http://schemas.microsoft.com/office/drawing/2014/main" id="{09CC3203-B6FD-4087-81BB-18711DFCB748}"/>
              </a:ext>
            </a:extLst>
          </p:cNvPr>
          <p:cNvSpPr/>
          <p:nvPr/>
        </p:nvSpPr>
        <p:spPr>
          <a:xfrm>
            <a:off x="4797224" y="5077949"/>
            <a:ext cx="2025589" cy="1088375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defTabSz="914370" eaLnBrk="1" hangingPunct="1">
              <a:defRPr/>
            </a:pPr>
            <a:r>
              <a:rPr lang="en-GB" altLang="en-US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4.565</a:t>
            </a:r>
          </a:p>
          <a:p>
            <a:pPr defTabSz="914370" eaLnBrk="1" hangingPunct="1">
              <a:defRPr/>
            </a:pPr>
            <a:r>
              <a:rPr lang="en-GB" altLang="en-US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Filiali</a:t>
            </a:r>
            <a:endParaRPr lang="en-GB" altLang="en-US" sz="1224" b="1" kern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370" eaLnBrk="1" hangingPunct="1">
              <a:defRPr/>
            </a:pP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3.611 in Italia</a:t>
            </a:r>
          </a:p>
          <a:p>
            <a:pPr defTabSz="914370" eaLnBrk="1" hangingPunct="1">
              <a:defRPr/>
            </a:pP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   954 </a:t>
            </a:r>
            <a:r>
              <a:rPr lang="en-US" sz="1224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all’estero</a:t>
            </a:r>
            <a:endParaRPr lang="en-US" sz="1224" b="1" kern="0">
              <a:solidFill>
                <a:srgbClr val="406B9B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Rettangolo 7">
            <a:extLst>
              <a:ext uri="{FF2B5EF4-FFF2-40B4-BE49-F238E27FC236}">
                <a16:creationId xmlns:a16="http://schemas.microsoft.com/office/drawing/2014/main" id="{6FE98D9D-B129-4651-BB19-F82A51DF6936}"/>
              </a:ext>
            </a:extLst>
          </p:cNvPr>
          <p:cNvSpPr/>
          <p:nvPr/>
        </p:nvSpPr>
        <p:spPr>
          <a:xfrm>
            <a:off x="2645308" y="5058786"/>
            <a:ext cx="2548392" cy="711605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545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d</a:t>
            </a:r>
            <a:endParaRPr lang="en-GB" sz="1200" b="1" kern="0">
              <a:solidFill>
                <a:srgbClr val="406B9B"/>
              </a:solidFill>
              <a:ea typeface="MS PGothic" panose="020B0600070205080204" pitchFamily="34" charset="-128"/>
            </a:endParaRPr>
          </a:p>
          <a:p>
            <a:pPr defTabSz="914370" eaLnBrk="1" hangingPunct="1">
              <a:defRPr/>
            </a:pPr>
            <a:r>
              <a:rPr lang="en-GB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Raccolta</a:t>
            </a:r>
            <a:r>
              <a:rPr lang="en-GB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  <a:r>
              <a:rPr lang="en-GB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diretta</a:t>
            </a:r>
            <a:endParaRPr lang="en-GB" sz="1224" b="1" ker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29" name="Rettangolo 34">
            <a:extLst>
              <a:ext uri="{FF2B5EF4-FFF2-40B4-BE49-F238E27FC236}">
                <a16:creationId xmlns:a16="http://schemas.microsoft.com/office/drawing/2014/main" id="{38BFE049-49B0-4DD2-9983-C43FB8B3F3E2}"/>
              </a:ext>
            </a:extLst>
          </p:cNvPr>
          <p:cNvSpPr/>
          <p:nvPr/>
        </p:nvSpPr>
        <p:spPr>
          <a:xfrm>
            <a:off x="4797223" y="1957173"/>
            <a:ext cx="2173752" cy="1088375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defTabSz="914370" eaLnBrk="1" hangingPunct="1">
              <a:defRPr/>
            </a:pPr>
            <a:r>
              <a:rPr lang="en-GB" altLang="en-US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20,7</a:t>
            </a:r>
            <a:r>
              <a:rPr lang="en-GB" altLang="en-US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 </a:t>
            </a:r>
            <a:r>
              <a:rPr lang="en-GB" altLang="en-US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n</a:t>
            </a:r>
            <a:r>
              <a:rPr lang="en-GB" altLang="en-US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 </a:t>
            </a:r>
            <a:br>
              <a:rPr lang="en-GB" altLang="en-US" sz="1200" b="1" kern="0">
                <a:solidFill>
                  <a:srgbClr val="406B9B"/>
                </a:solidFill>
                <a:ea typeface="MS PGothic" panose="020B0600070205080204" pitchFamily="34" charset="-128"/>
              </a:rPr>
            </a:br>
            <a:r>
              <a:rPr lang="en-GB" altLang="en-US" sz="1224" b="1" kern="0" err="1">
                <a:solidFill>
                  <a:srgbClr val="000000"/>
                </a:solidFill>
                <a:ea typeface="MS PGothic" panose="020B0600070205080204" pitchFamily="34" charset="-128"/>
              </a:rPr>
              <a:t>Clienti</a:t>
            </a:r>
            <a:endParaRPr lang="en-GB" altLang="en-US" sz="1224" b="1" kern="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 defTabSz="914370" eaLnBrk="1" hangingPunct="1">
              <a:defRPr/>
            </a:pP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13.6 </a:t>
            </a:r>
            <a:r>
              <a:rPr lang="en-US" sz="1224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n</a:t>
            </a: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 in Italia</a:t>
            </a:r>
          </a:p>
          <a:p>
            <a:pPr defTabSz="914370" eaLnBrk="1" hangingPunct="1">
              <a:defRPr/>
            </a:pP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  7.1 </a:t>
            </a:r>
            <a:r>
              <a:rPr lang="en-US" sz="1224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n</a:t>
            </a:r>
            <a:r>
              <a:rPr lang="en-US" sz="1224" b="1" kern="0">
                <a:solidFill>
                  <a:srgbClr val="406B9B"/>
                </a:solidFill>
                <a:ea typeface="MS PGothic" panose="020B0600070205080204" pitchFamily="34" charset="-128"/>
              </a:rPr>
              <a:t> </a:t>
            </a:r>
            <a:r>
              <a:rPr lang="en-US" sz="1224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all’estero</a:t>
            </a:r>
            <a:endParaRPr lang="en-US" sz="1224" b="1" kern="0">
              <a:solidFill>
                <a:srgbClr val="406B9B"/>
              </a:solidFill>
              <a:ea typeface="MS PGothic" panose="020B0600070205080204" pitchFamily="34" charset="-128"/>
            </a:endParaRPr>
          </a:p>
        </p:txBody>
      </p:sp>
      <p:sp>
        <p:nvSpPr>
          <p:cNvPr id="38" name="Rettangolo 5">
            <a:extLst>
              <a:ext uri="{FF2B5EF4-FFF2-40B4-BE49-F238E27FC236}">
                <a16:creationId xmlns:a16="http://schemas.microsoft.com/office/drawing/2014/main" id="{D52AC82C-93B8-45C8-8330-FBA8819D7B06}"/>
              </a:ext>
            </a:extLst>
          </p:cNvPr>
          <p:cNvSpPr/>
          <p:nvPr/>
        </p:nvSpPr>
        <p:spPr>
          <a:xfrm>
            <a:off x="525334" y="1957174"/>
            <a:ext cx="1892385" cy="71160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975,6</a:t>
            </a:r>
            <a:r>
              <a:rPr lang="en-GB" sz="2800" b="1" kern="0" baseline="100000">
                <a:solidFill>
                  <a:srgbClr val="406B9B"/>
                </a:solidFill>
                <a:ea typeface="MS PGothic" panose="020B0600070205080204" pitchFamily="34" charset="-128"/>
              </a:rPr>
              <a:t>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d</a:t>
            </a:r>
            <a:endParaRPr lang="en-GB" sz="1200" b="1" kern="0">
              <a:solidFill>
                <a:srgbClr val="406B9B"/>
              </a:solidFill>
              <a:ea typeface="MS PGothic" panose="020B0600070205080204" pitchFamily="34" charset="-128"/>
            </a:endParaRPr>
          </a:p>
          <a:p>
            <a:pPr defTabSz="914370" eaLnBrk="1" hangingPunct="1">
              <a:defRPr/>
            </a:pPr>
            <a:r>
              <a:rPr lang="en-GB" altLang="en-US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Total Asset</a:t>
            </a:r>
          </a:p>
        </p:txBody>
      </p:sp>
      <p:sp>
        <p:nvSpPr>
          <p:cNvPr id="40" name="Rettangolo 5">
            <a:extLst>
              <a:ext uri="{FF2B5EF4-FFF2-40B4-BE49-F238E27FC236}">
                <a16:creationId xmlns:a16="http://schemas.microsoft.com/office/drawing/2014/main" id="{E6A89850-CD8A-4B56-954F-64DC4AC60832}"/>
              </a:ext>
            </a:extLst>
          </p:cNvPr>
          <p:cNvSpPr/>
          <p:nvPr/>
        </p:nvSpPr>
        <p:spPr>
          <a:xfrm>
            <a:off x="2645310" y="1957173"/>
            <a:ext cx="1603807" cy="71160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4.354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n</a:t>
            </a:r>
            <a:endParaRPr lang="en-GB" sz="1200" b="1" kern="0">
              <a:solidFill>
                <a:srgbClr val="406B9B"/>
              </a:solidFill>
              <a:ea typeface="MS PGothic" panose="020B0600070205080204" pitchFamily="34" charset="-128"/>
            </a:endParaRPr>
          </a:p>
          <a:p>
            <a:pPr defTabSz="914370" eaLnBrk="1" hangingPunct="1">
              <a:defRPr/>
            </a:pPr>
            <a:r>
              <a:rPr lang="en-GB" altLang="en-US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2022 Net Income </a:t>
            </a:r>
          </a:p>
        </p:txBody>
      </p:sp>
      <p:sp>
        <p:nvSpPr>
          <p:cNvPr id="41" name="Rettangolo 5">
            <a:extLst>
              <a:ext uri="{FF2B5EF4-FFF2-40B4-BE49-F238E27FC236}">
                <a16:creationId xmlns:a16="http://schemas.microsoft.com/office/drawing/2014/main" id="{91E796EA-DA81-4ECB-8BDB-C8B23DB69120}"/>
              </a:ext>
            </a:extLst>
          </p:cNvPr>
          <p:cNvSpPr/>
          <p:nvPr/>
        </p:nvSpPr>
        <p:spPr>
          <a:xfrm>
            <a:off x="580457" y="3540476"/>
            <a:ext cx="2159023" cy="71160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0" eaLnBrk="1" hangingPunct="1">
              <a:defRPr/>
            </a:pPr>
            <a:r>
              <a:rPr lang="en-GB" sz="2800" b="1" kern="0">
                <a:solidFill>
                  <a:srgbClr val="406B9B"/>
                </a:solidFill>
                <a:ea typeface="MS PGothic" panose="020B0600070205080204" pitchFamily="34" charset="-128"/>
              </a:rPr>
              <a:t>39,6 </a:t>
            </a:r>
            <a: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  <a:t>€/</a:t>
            </a:r>
            <a:r>
              <a:rPr lang="en-GB" sz="1200" b="1" kern="0" err="1">
                <a:solidFill>
                  <a:srgbClr val="406B9B"/>
                </a:solidFill>
                <a:ea typeface="MS PGothic" panose="020B0600070205080204" pitchFamily="34" charset="-128"/>
              </a:rPr>
              <a:t>mld</a:t>
            </a:r>
            <a:br>
              <a:rPr lang="en-GB" sz="1200" b="1" kern="0">
                <a:solidFill>
                  <a:srgbClr val="406B9B"/>
                </a:solidFill>
                <a:ea typeface="MS PGothic" panose="020B0600070205080204" pitchFamily="34" charset="-128"/>
              </a:rPr>
            </a:br>
            <a:r>
              <a:rPr lang="en-GB" altLang="en-US" sz="1224" b="1" kern="0">
                <a:solidFill>
                  <a:srgbClr val="000000"/>
                </a:solidFill>
                <a:ea typeface="MS PGothic" panose="020B0600070205080204" pitchFamily="34" charset="-128"/>
              </a:rPr>
              <a:t>Market Capitalisation</a:t>
            </a:r>
            <a:r>
              <a:rPr lang="en-GB" altLang="en-US" sz="1071" b="1" kern="0" baseline="30000">
                <a:solidFill>
                  <a:srgbClr val="406B9B"/>
                </a:solidFill>
                <a:ea typeface="MS PGothic" panose="020B0600070205080204" pitchFamily="34" charset="-128"/>
              </a:rPr>
              <a:t>(1)</a:t>
            </a:r>
            <a:endParaRPr lang="en-GB" altLang="en-US" sz="1071" b="1" kern="0">
              <a:solidFill>
                <a:srgbClr val="406B9B"/>
              </a:solidFill>
              <a:ea typeface="MS PGothic" panose="020B0600070205080204" pitchFamily="34" charset="-128"/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332" y="4486439"/>
            <a:ext cx="580429" cy="540183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7224" y="1422258"/>
            <a:ext cx="580429" cy="540183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308" y="1367779"/>
            <a:ext cx="580429" cy="540183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7223" y="4491943"/>
            <a:ext cx="581324" cy="540184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309" y="3004425"/>
            <a:ext cx="581324" cy="540184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332" y="1374962"/>
            <a:ext cx="580429" cy="540183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334" y="2948952"/>
            <a:ext cx="581324" cy="540184"/>
          </a:xfrm>
          <a:prstGeom prst="rect">
            <a:avLst/>
          </a:prstGeom>
        </p:spPr>
      </p:pic>
      <p:pic>
        <p:nvPicPr>
          <p:cNvPr id="19" name="Immagine 1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307" y="4485590"/>
            <a:ext cx="667272" cy="620049"/>
          </a:xfrm>
          <a:prstGeom prst="rect">
            <a:avLst/>
          </a:prstGeom>
        </p:spPr>
      </p:pic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526E0D0-AABF-4E41-B417-6E51D18BE91B}"/>
              </a:ext>
            </a:extLst>
          </p:cNvPr>
          <p:cNvSpPr txBox="1">
            <a:spLocks/>
          </p:cNvSpPr>
          <p:nvPr/>
        </p:nvSpPr>
        <p:spPr>
          <a:xfrm>
            <a:off x="403330" y="6373242"/>
            <a:ext cx="556213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9322" indent="-829322" defTabSz="913504" eaLnBrk="1" hangingPunct="1">
              <a:tabLst>
                <a:tab pos="643016" algn="l"/>
              </a:tabLst>
              <a:defRPr/>
            </a:pPr>
            <a:r>
              <a:rPr lang="en-GB" sz="919">
                <a:solidFill>
                  <a:srgbClr val="808080"/>
                </a:solidFill>
              </a:rPr>
              <a:t>Fonte: Intesa Sanpaolo figures as at 31 December 2022    (1) As at 31 December 2022</a:t>
            </a:r>
          </a:p>
        </p:txBody>
      </p:sp>
      <p:grpSp>
        <p:nvGrpSpPr>
          <p:cNvPr id="106" name="Gruppo 13311">
            <a:extLst>
              <a:ext uri="{FF2B5EF4-FFF2-40B4-BE49-F238E27FC236}">
                <a16:creationId xmlns:a16="http://schemas.microsoft.com/office/drawing/2014/main" id="{0BF4D43C-2CC4-49FF-BB91-61477490247E}"/>
              </a:ext>
            </a:extLst>
          </p:cNvPr>
          <p:cNvGrpSpPr>
            <a:grpSpLocks/>
          </p:cNvGrpSpPr>
          <p:nvPr/>
        </p:nvGrpSpPr>
        <p:grpSpPr bwMode="auto">
          <a:xfrm>
            <a:off x="6806777" y="3706360"/>
            <a:ext cx="4644651" cy="2499959"/>
            <a:chOff x="5103718" y="2696462"/>
            <a:chExt cx="3797761" cy="2043901"/>
          </a:xfrm>
        </p:grpSpPr>
        <p:sp>
          <p:nvSpPr>
            <p:cNvPr id="107" name="Rettangolo 106">
              <a:extLst>
                <a:ext uri="{FF2B5EF4-FFF2-40B4-BE49-F238E27FC236}">
                  <a16:creationId xmlns:a16="http://schemas.microsoft.com/office/drawing/2014/main" id="{10B0FCC4-FFEA-4BB7-8360-7E6204426E85}"/>
                </a:ext>
              </a:extLst>
            </p:cNvPr>
            <p:cNvSpPr/>
            <p:nvPr/>
          </p:nvSpPr>
          <p:spPr>
            <a:xfrm>
              <a:off x="5189755" y="2924732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08" name="Rettangolo 107">
              <a:extLst>
                <a:ext uri="{FF2B5EF4-FFF2-40B4-BE49-F238E27FC236}">
                  <a16:creationId xmlns:a16="http://schemas.microsoft.com/office/drawing/2014/main" id="{E0BCCAE3-B35F-4AC9-B3E7-318A12F43417}"/>
                </a:ext>
              </a:extLst>
            </p:cNvPr>
            <p:cNvSpPr/>
            <p:nvPr/>
          </p:nvSpPr>
          <p:spPr>
            <a:xfrm>
              <a:off x="5189755" y="3077017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09" name="Rettangolo 108">
              <a:extLst>
                <a:ext uri="{FF2B5EF4-FFF2-40B4-BE49-F238E27FC236}">
                  <a16:creationId xmlns:a16="http://schemas.microsoft.com/office/drawing/2014/main" id="{2BE02C20-1DB9-45F7-AE5B-C4C970DDC2FC}"/>
                </a:ext>
              </a:extLst>
            </p:cNvPr>
            <p:cNvSpPr/>
            <p:nvPr/>
          </p:nvSpPr>
          <p:spPr>
            <a:xfrm>
              <a:off x="5189755" y="3229301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0" name="Rettangolo 109">
              <a:extLst>
                <a:ext uri="{FF2B5EF4-FFF2-40B4-BE49-F238E27FC236}">
                  <a16:creationId xmlns:a16="http://schemas.microsoft.com/office/drawing/2014/main" id="{EE52189C-4EC4-4B50-A0CD-E0114442D501}"/>
                </a:ext>
              </a:extLst>
            </p:cNvPr>
            <p:cNvSpPr/>
            <p:nvPr/>
          </p:nvSpPr>
          <p:spPr>
            <a:xfrm>
              <a:off x="5189755" y="3381586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1" name="Rettangolo 110">
              <a:extLst>
                <a:ext uri="{FF2B5EF4-FFF2-40B4-BE49-F238E27FC236}">
                  <a16:creationId xmlns:a16="http://schemas.microsoft.com/office/drawing/2014/main" id="{4D90C740-5C5E-409E-9B7B-C85F00AE39E9}"/>
                </a:ext>
              </a:extLst>
            </p:cNvPr>
            <p:cNvSpPr/>
            <p:nvPr/>
          </p:nvSpPr>
          <p:spPr>
            <a:xfrm>
              <a:off x="5189755" y="3533871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3" name="Rettangolo 112">
              <a:extLst>
                <a:ext uri="{FF2B5EF4-FFF2-40B4-BE49-F238E27FC236}">
                  <a16:creationId xmlns:a16="http://schemas.microsoft.com/office/drawing/2014/main" id="{94B2D366-E5A7-4A96-B7B0-727A8B3AC2B2}"/>
                </a:ext>
              </a:extLst>
            </p:cNvPr>
            <p:cNvSpPr/>
            <p:nvPr/>
          </p:nvSpPr>
          <p:spPr>
            <a:xfrm>
              <a:off x="5189755" y="3686155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 sz="2400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5" name="Rettangolo 114">
              <a:extLst>
                <a:ext uri="{FF2B5EF4-FFF2-40B4-BE49-F238E27FC236}">
                  <a16:creationId xmlns:a16="http://schemas.microsoft.com/office/drawing/2014/main" id="{5255C6BA-CB11-4E20-9EBF-37A03051F30F}"/>
                </a:ext>
              </a:extLst>
            </p:cNvPr>
            <p:cNvSpPr/>
            <p:nvPr/>
          </p:nvSpPr>
          <p:spPr>
            <a:xfrm>
              <a:off x="5193713" y="3838440"/>
              <a:ext cx="359902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7" name="Rettangolo 116">
              <a:extLst>
                <a:ext uri="{FF2B5EF4-FFF2-40B4-BE49-F238E27FC236}">
                  <a16:creationId xmlns:a16="http://schemas.microsoft.com/office/drawing/2014/main" id="{4FC5A809-A4B5-4BBF-A6E6-8BC7FEA660E7}"/>
                </a:ext>
              </a:extLst>
            </p:cNvPr>
            <p:cNvSpPr/>
            <p:nvPr/>
          </p:nvSpPr>
          <p:spPr>
            <a:xfrm>
              <a:off x="5193714" y="3990724"/>
              <a:ext cx="359984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19" name="Rettangolo 118">
              <a:extLst>
                <a:ext uri="{FF2B5EF4-FFF2-40B4-BE49-F238E27FC236}">
                  <a16:creationId xmlns:a16="http://schemas.microsoft.com/office/drawing/2014/main" id="{2B6E64CF-7033-4384-8C75-B1A9A79C7EFB}"/>
                </a:ext>
              </a:extLst>
            </p:cNvPr>
            <p:cNvSpPr/>
            <p:nvPr/>
          </p:nvSpPr>
          <p:spPr>
            <a:xfrm>
              <a:off x="5191983" y="4143009"/>
              <a:ext cx="359984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22" name="CasellaDiTesto 55">
              <a:extLst>
                <a:ext uri="{FF2B5EF4-FFF2-40B4-BE49-F238E27FC236}">
                  <a16:creationId xmlns:a16="http://schemas.microsoft.com/office/drawing/2014/main" id="{6B8C94EC-847E-44E6-AB1E-9F989E62C5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3718" y="2696462"/>
              <a:ext cx="1197664" cy="209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1067">
                  <a:solidFill>
                    <a:srgbClr val="003A79"/>
                  </a:solidFill>
                  <a:latin typeface="Century Gothic" panose="020B0502020202020204" pitchFamily="34" charset="0"/>
                </a:rPr>
                <a:t>Eurozone Ranking </a:t>
              </a:r>
            </a:p>
          </p:txBody>
        </p:sp>
        <p:sp>
          <p:nvSpPr>
            <p:cNvPr id="123" name="CasellaDiTesto 65">
              <a:extLst>
                <a:ext uri="{FF2B5EF4-FFF2-40B4-BE49-F238E27FC236}">
                  <a16:creationId xmlns:a16="http://schemas.microsoft.com/office/drawing/2014/main" id="{C5517119-0734-4746-A49E-DF994E929A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77685" y="2698240"/>
              <a:ext cx="1717238" cy="209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1067">
                  <a:solidFill>
                    <a:srgbClr val="003A79"/>
                  </a:solidFill>
                  <a:latin typeface="Century Gothic" panose="020B0502020202020204" pitchFamily="34" charset="0"/>
                </a:rPr>
                <a:t>Banks Market Capitalisation </a:t>
              </a:r>
            </a:p>
          </p:txBody>
        </p:sp>
        <p:sp>
          <p:nvSpPr>
            <p:cNvPr id="126" name="CasellaDiTesto 64">
              <a:extLst>
                <a:ext uri="{FF2B5EF4-FFF2-40B4-BE49-F238E27FC236}">
                  <a16:creationId xmlns:a16="http://schemas.microsoft.com/office/drawing/2014/main" id="{D47B6F91-5220-4EBA-8363-7AC7587121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2881672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HSBC</a:t>
              </a:r>
            </a:p>
          </p:txBody>
        </p:sp>
        <p:sp>
          <p:nvSpPr>
            <p:cNvPr id="127" name="CasellaDiTesto 67">
              <a:extLst>
                <a:ext uri="{FF2B5EF4-FFF2-40B4-BE49-F238E27FC236}">
                  <a16:creationId xmlns:a16="http://schemas.microsoft.com/office/drawing/2014/main" id="{D298C02E-AAA1-42FB-84AE-E79FD9359F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3031314"/>
              <a:ext cx="792658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UBS</a:t>
              </a:r>
            </a:p>
          </p:txBody>
        </p:sp>
        <p:sp>
          <p:nvSpPr>
            <p:cNvPr id="129" name="CasellaDiTesto 69">
              <a:extLst>
                <a:ext uri="{FF2B5EF4-FFF2-40B4-BE49-F238E27FC236}">
                  <a16:creationId xmlns:a16="http://schemas.microsoft.com/office/drawing/2014/main" id="{3F4CB440-F450-4C53-A6FF-46021282C3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2739" y="3178906"/>
              <a:ext cx="959075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 BNP Paribas</a:t>
              </a:r>
            </a:p>
          </p:txBody>
        </p:sp>
        <p:sp>
          <p:nvSpPr>
            <p:cNvPr id="131" name="CasellaDiTesto 70">
              <a:extLst>
                <a:ext uri="{FF2B5EF4-FFF2-40B4-BE49-F238E27FC236}">
                  <a16:creationId xmlns:a16="http://schemas.microsoft.com/office/drawing/2014/main" id="{C8C3BA09-A3FC-4061-AABD-246E58A9A6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39450" y="3323962"/>
              <a:ext cx="1235624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       Banco Santander</a:t>
              </a:r>
            </a:p>
          </p:txBody>
        </p:sp>
        <p:sp>
          <p:nvSpPr>
            <p:cNvPr id="134" name="CasellaDiTesto 71">
              <a:extLst>
                <a:ext uri="{FF2B5EF4-FFF2-40B4-BE49-F238E27FC236}">
                  <a16:creationId xmlns:a16="http://schemas.microsoft.com/office/drawing/2014/main" id="{463A8D95-06BD-4C7D-B16D-6F8A0AA0F8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3636557"/>
              <a:ext cx="1029934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BBVA</a:t>
              </a:r>
            </a:p>
          </p:txBody>
        </p:sp>
        <p:sp>
          <p:nvSpPr>
            <p:cNvPr id="135" name="CasellaDiTesto 72">
              <a:extLst>
                <a:ext uri="{FF2B5EF4-FFF2-40B4-BE49-F238E27FC236}">
                  <a16:creationId xmlns:a16="http://schemas.microsoft.com/office/drawing/2014/main" id="{0FDA121E-934F-42E0-930D-32644A6818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9644" y="4090994"/>
              <a:ext cx="1259668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Nordea Bank</a:t>
              </a:r>
            </a:p>
          </p:txBody>
        </p:sp>
        <p:sp>
          <p:nvSpPr>
            <p:cNvPr id="136" name="CasellaDiTesto 73">
              <a:extLst>
                <a:ext uri="{FF2B5EF4-FFF2-40B4-BE49-F238E27FC236}">
                  <a16:creationId xmlns:a16="http://schemas.microsoft.com/office/drawing/2014/main" id="{2A0283D7-474D-45A9-927D-F30945FC51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3935032"/>
              <a:ext cx="1250212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Lloyds Banking Group</a:t>
              </a:r>
            </a:p>
          </p:txBody>
        </p:sp>
        <p:sp>
          <p:nvSpPr>
            <p:cNvPr id="138" name="Rettangolo 137">
              <a:extLst>
                <a:ext uri="{FF2B5EF4-FFF2-40B4-BE49-F238E27FC236}">
                  <a16:creationId xmlns:a16="http://schemas.microsoft.com/office/drawing/2014/main" id="{9772C2A3-93F0-44BF-A4C1-427AB9B069D3}"/>
                </a:ext>
              </a:extLst>
            </p:cNvPr>
            <p:cNvSpPr/>
            <p:nvPr/>
          </p:nvSpPr>
          <p:spPr>
            <a:xfrm>
              <a:off x="5191983" y="4295294"/>
              <a:ext cx="359984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41" name="Rettangolo 140">
              <a:extLst>
                <a:ext uri="{FF2B5EF4-FFF2-40B4-BE49-F238E27FC236}">
                  <a16:creationId xmlns:a16="http://schemas.microsoft.com/office/drawing/2014/main" id="{07060831-BC5A-4349-B2D5-D8198F188203}"/>
                </a:ext>
              </a:extLst>
            </p:cNvPr>
            <p:cNvSpPr/>
            <p:nvPr/>
          </p:nvSpPr>
          <p:spPr>
            <a:xfrm>
              <a:off x="5190251" y="4447578"/>
              <a:ext cx="359984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42" name="Rettangolo 141">
              <a:extLst>
                <a:ext uri="{FF2B5EF4-FFF2-40B4-BE49-F238E27FC236}">
                  <a16:creationId xmlns:a16="http://schemas.microsoft.com/office/drawing/2014/main" id="{53900A2A-CC96-4C20-A88A-FB896D17A7FC}"/>
                </a:ext>
              </a:extLst>
            </p:cNvPr>
            <p:cNvSpPr/>
            <p:nvPr/>
          </p:nvSpPr>
          <p:spPr>
            <a:xfrm>
              <a:off x="5191983" y="4599862"/>
              <a:ext cx="3599849" cy="117731"/>
            </a:xfrm>
            <a:prstGeom prst="rect">
              <a:avLst/>
            </a:prstGeom>
            <a:solidFill>
              <a:srgbClr val="D9E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43" name="CasellaDiTesto 101">
              <a:extLst>
                <a:ext uri="{FF2B5EF4-FFF2-40B4-BE49-F238E27FC236}">
                  <a16:creationId xmlns:a16="http://schemas.microsoft.com/office/drawing/2014/main" id="{0B92A7EE-0485-45AE-BBA9-373C5BDD21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2" y="3796031"/>
              <a:ext cx="423011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ING</a:t>
              </a:r>
            </a:p>
          </p:txBody>
        </p:sp>
        <p:sp>
          <p:nvSpPr>
            <p:cNvPr id="144" name="CasellaDiTesto 103">
              <a:extLst>
                <a:ext uri="{FF2B5EF4-FFF2-40B4-BE49-F238E27FC236}">
                  <a16:creationId xmlns:a16="http://schemas.microsoft.com/office/drawing/2014/main" id="{E3E9D9BC-797F-436A-9C83-FBD113205D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3486097"/>
              <a:ext cx="111584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Intesa Sanpaolo</a:t>
              </a:r>
            </a:p>
          </p:txBody>
        </p:sp>
        <p:sp>
          <p:nvSpPr>
            <p:cNvPr id="146" name="CasellaDiTesto 105">
              <a:extLst>
                <a:ext uri="{FF2B5EF4-FFF2-40B4-BE49-F238E27FC236}">
                  <a16:creationId xmlns:a16="http://schemas.microsoft.com/office/drawing/2014/main" id="{5A2AED89-C0E5-4352-8978-A8415925BC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5836" y="3481726"/>
              <a:ext cx="214515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endPara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47" name="CasellaDiTesto 106">
              <a:extLst>
                <a:ext uri="{FF2B5EF4-FFF2-40B4-BE49-F238E27FC236}">
                  <a16:creationId xmlns:a16="http://schemas.microsoft.com/office/drawing/2014/main" id="{27B8D38F-827D-4380-9128-2C2982125F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5836" y="3486915"/>
              <a:ext cx="197108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  <p:sp>
          <p:nvSpPr>
            <p:cNvPr id="148" name="CasellaDiTesto 107">
              <a:extLst>
                <a:ext uri="{FF2B5EF4-FFF2-40B4-BE49-F238E27FC236}">
                  <a16:creationId xmlns:a16="http://schemas.microsoft.com/office/drawing/2014/main" id="{500DAED6-9EAB-4325-A70A-7949E873C5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5836" y="3634460"/>
              <a:ext cx="196865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  <p:sp>
          <p:nvSpPr>
            <p:cNvPr id="150" name="CasellaDiTesto 109">
              <a:extLst>
                <a:ext uri="{FF2B5EF4-FFF2-40B4-BE49-F238E27FC236}">
                  <a16:creationId xmlns:a16="http://schemas.microsoft.com/office/drawing/2014/main" id="{FDE43EF7-7E20-414A-97D9-6D6A58F7FD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9738" y="3789577"/>
              <a:ext cx="221993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  <p:sp>
          <p:nvSpPr>
            <p:cNvPr id="152" name="Rettangolo 151">
              <a:extLst>
                <a:ext uri="{FF2B5EF4-FFF2-40B4-BE49-F238E27FC236}">
                  <a16:creationId xmlns:a16="http://schemas.microsoft.com/office/drawing/2014/main" id="{829388D9-5196-418A-BB52-ABF5F94DF26D}"/>
                </a:ext>
              </a:extLst>
            </p:cNvPr>
            <p:cNvSpPr/>
            <p:nvPr/>
          </p:nvSpPr>
          <p:spPr>
            <a:xfrm>
              <a:off x="6981521" y="2920253"/>
              <a:ext cx="1808578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53" name="CasellaDiTesto 112">
              <a:extLst>
                <a:ext uri="{FF2B5EF4-FFF2-40B4-BE49-F238E27FC236}">
                  <a16:creationId xmlns:a16="http://schemas.microsoft.com/office/drawing/2014/main" id="{6050BDBC-BF64-496F-8446-810C983A48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09513" y="2864299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prstClr val="white"/>
                  </a:solidFill>
                  <a:latin typeface="Century Gothic" panose="020B0502020202020204" pitchFamily="34" charset="0"/>
                </a:rPr>
                <a:t>124,8</a:t>
              </a:r>
            </a:p>
          </p:txBody>
        </p:sp>
        <p:sp>
          <p:nvSpPr>
            <p:cNvPr id="154" name="Rettangolo 153">
              <a:extLst>
                <a:ext uri="{FF2B5EF4-FFF2-40B4-BE49-F238E27FC236}">
                  <a16:creationId xmlns:a16="http://schemas.microsoft.com/office/drawing/2014/main" id="{C2E3A8F6-7F29-4FF2-956C-229633F4D4FF}"/>
                </a:ext>
              </a:extLst>
            </p:cNvPr>
            <p:cNvSpPr/>
            <p:nvPr/>
          </p:nvSpPr>
          <p:spPr>
            <a:xfrm>
              <a:off x="6981523" y="3078747"/>
              <a:ext cx="792659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55" name="CasellaDiTesto 114">
              <a:extLst>
                <a:ext uri="{FF2B5EF4-FFF2-40B4-BE49-F238E27FC236}">
                  <a16:creationId xmlns:a16="http://schemas.microsoft.com/office/drawing/2014/main" id="{E22B2ADF-31FD-4132-B51A-2F1610CA82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38702" y="3029712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68,5</a:t>
              </a:r>
            </a:p>
          </p:txBody>
        </p:sp>
        <p:sp>
          <p:nvSpPr>
            <p:cNvPr id="156" name="Rettangolo 155">
              <a:extLst>
                <a:ext uri="{FF2B5EF4-FFF2-40B4-BE49-F238E27FC236}">
                  <a16:creationId xmlns:a16="http://schemas.microsoft.com/office/drawing/2014/main" id="{A1DB8EBC-050B-4F57-96A7-23F18FC43931}"/>
                </a:ext>
              </a:extLst>
            </p:cNvPr>
            <p:cNvSpPr/>
            <p:nvPr/>
          </p:nvSpPr>
          <p:spPr>
            <a:xfrm>
              <a:off x="6981521" y="3231135"/>
              <a:ext cx="754783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57" name="CasellaDiTesto 116">
              <a:extLst>
                <a:ext uri="{FF2B5EF4-FFF2-40B4-BE49-F238E27FC236}">
                  <a16:creationId xmlns:a16="http://schemas.microsoft.com/office/drawing/2014/main" id="{D04F8558-2B4F-4F4A-9C71-5A413B9FB0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89120" y="3182112"/>
              <a:ext cx="409788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68,1</a:t>
              </a:r>
            </a:p>
          </p:txBody>
        </p:sp>
        <p:sp>
          <p:nvSpPr>
            <p:cNvPr id="158" name="Rettangolo 157">
              <a:extLst>
                <a:ext uri="{FF2B5EF4-FFF2-40B4-BE49-F238E27FC236}">
                  <a16:creationId xmlns:a16="http://schemas.microsoft.com/office/drawing/2014/main" id="{99C38132-FBD0-4B16-B744-8DD69D647E14}"/>
                </a:ext>
              </a:extLst>
            </p:cNvPr>
            <p:cNvSpPr/>
            <p:nvPr/>
          </p:nvSpPr>
          <p:spPr>
            <a:xfrm>
              <a:off x="6981523" y="3377913"/>
              <a:ext cx="607475" cy="113184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59" name="CasellaDiTesto 118">
              <a:extLst>
                <a:ext uri="{FF2B5EF4-FFF2-40B4-BE49-F238E27FC236}">
                  <a16:creationId xmlns:a16="http://schemas.microsoft.com/office/drawing/2014/main" id="{2F1B93E3-4099-4215-8665-CA0E6117BC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44170" y="3318471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56,4</a:t>
              </a:r>
            </a:p>
          </p:txBody>
        </p:sp>
        <p:sp>
          <p:nvSpPr>
            <p:cNvPr id="161" name="Rettangolo 160">
              <a:extLst>
                <a:ext uri="{FF2B5EF4-FFF2-40B4-BE49-F238E27FC236}">
                  <a16:creationId xmlns:a16="http://schemas.microsoft.com/office/drawing/2014/main" id="{E4A3DC95-FA1E-485A-8246-0542EE5D0650}"/>
                </a:ext>
              </a:extLst>
            </p:cNvPr>
            <p:cNvSpPr/>
            <p:nvPr/>
          </p:nvSpPr>
          <p:spPr>
            <a:xfrm>
              <a:off x="6979570" y="3678764"/>
              <a:ext cx="427151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 sz="2400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62" name="CasellaDiTesto 121">
              <a:extLst>
                <a:ext uri="{FF2B5EF4-FFF2-40B4-BE49-F238E27FC236}">
                  <a16:creationId xmlns:a16="http://schemas.microsoft.com/office/drawing/2014/main" id="{5EDFE9DE-3D8A-44CE-BADF-6FEED7C5A3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44048" y="3476797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45,0</a:t>
              </a:r>
            </a:p>
          </p:txBody>
        </p:sp>
        <p:sp>
          <p:nvSpPr>
            <p:cNvPr id="163" name="CasellaDiTesto 122">
              <a:extLst>
                <a:ext uri="{FF2B5EF4-FFF2-40B4-BE49-F238E27FC236}">
                  <a16:creationId xmlns:a16="http://schemas.microsoft.com/office/drawing/2014/main" id="{26365224-6484-4197-904B-25DF83DAB1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80793" y="3635979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39,6</a:t>
              </a:r>
            </a:p>
          </p:txBody>
        </p:sp>
        <p:sp>
          <p:nvSpPr>
            <p:cNvPr id="164" name="Rettangolo 163">
              <a:extLst>
                <a:ext uri="{FF2B5EF4-FFF2-40B4-BE49-F238E27FC236}">
                  <a16:creationId xmlns:a16="http://schemas.microsoft.com/office/drawing/2014/main" id="{9A21E93A-A3CC-4F8D-92ED-2322D6D0E74F}"/>
                </a:ext>
              </a:extLst>
            </p:cNvPr>
            <p:cNvSpPr/>
            <p:nvPr/>
          </p:nvSpPr>
          <p:spPr>
            <a:xfrm>
              <a:off x="6981523" y="3841899"/>
              <a:ext cx="430571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 sz="2400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65" name="Rettangolo 164">
              <a:extLst>
                <a:ext uri="{FF2B5EF4-FFF2-40B4-BE49-F238E27FC236}">
                  <a16:creationId xmlns:a16="http://schemas.microsoft.com/office/drawing/2014/main" id="{21CE6A38-C01E-4AEB-BCE5-8FE836A9E798}"/>
                </a:ext>
              </a:extLst>
            </p:cNvPr>
            <p:cNvSpPr/>
            <p:nvPr/>
          </p:nvSpPr>
          <p:spPr>
            <a:xfrm>
              <a:off x="6981523" y="3984029"/>
              <a:ext cx="314744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66" name="CasellaDiTesto 125">
              <a:extLst>
                <a:ext uri="{FF2B5EF4-FFF2-40B4-BE49-F238E27FC236}">
                  <a16:creationId xmlns:a16="http://schemas.microsoft.com/office/drawing/2014/main" id="{F33B8A55-633E-4834-A66D-578DCA43D4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7674" y="3784623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 39,6</a:t>
              </a:r>
            </a:p>
          </p:txBody>
        </p:sp>
        <p:sp>
          <p:nvSpPr>
            <p:cNvPr id="167" name="CasellaDiTesto 126">
              <a:extLst>
                <a:ext uri="{FF2B5EF4-FFF2-40B4-BE49-F238E27FC236}">
                  <a16:creationId xmlns:a16="http://schemas.microsoft.com/office/drawing/2014/main" id="{38E3248B-85F3-4B17-A65B-5A996FF2CD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70305" y="3933158"/>
              <a:ext cx="49196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36,1</a:t>
              </a:r>
            </a:p>
          </p:txBody>
        </p:sp>
        <p:sp>
          <p:nvSpPr>
            <p:cNvPr id="168" name="Rettangolo 167">
              <a:extLst>
                <a:ext uri="{FF2B5EF4-FFF2-40B4-BE49-F238E27FC236}">
                  <a16:creationId xmlns:a16="http://schemas.microsoft.com/office/drawing/2014/main" id="{F88993C1-E002-490B-AD7C-8284E45EA7D1}"/>
                </a:ext>
              </a:extLst>
            </p:cNvPr>
            <p:cNvSpPr/>
            <p:nvPr/>
          </p:nvSpPr>
          <p:spPr>
            <a:xfrm>
              <a:off x="6979570" y="4145560"/>
              <a:ext cx="268259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69" name="CasellaDiTesto 128">
              <a:extLst>
                <a:ext uri="{FF2B5EF4-FFF2-40B4-BE49-F238E27FC236}">
                  <a16:creationId xmlns:a16="http://schemas.microsoft.com/office/drawing/2014/main" id="{B472BB13-8728-4054-9FE3-A6E900010E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19335" y="4096513"/>
              <a:ext cx="477950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35,5</a:t>
              </a:r>
            </a:p>
          </p:txBody>
        </p:sp>
        <p:sp>
          <p:nvSpPr>
            <p:cNvPr id="170" name="Rettangolo 169">
              <a:extLst>
                <a:ext uri="{FF2B5EF4-FFF2-40B4-BE49-F238E27FC236}">
                  <a16:creationId xmlns:a16="http://schemas.microsoft.com/office/drawing/2014/main" id="{D0CE26BC-A525-44A4-A956-42C9824A8B82}"/>
                </a:ext>
              </a:extLst>
            </p:cNvPr>
            <p:cNvSpPr/>
            <p:nvPr/>
          </p:nvSpPr>
          <p:spPr>
            <a:xfrm>
              <a:off x="6981523" y="4297022"/>
              <a:ext cx="221694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71" name="Rettangolo 170">
              <a:extLst>
                <a:ext uri="{FF2B5EF4-FFF2-40B4-BE49-F238E27FC236}">
                  <a16:creationId xmlns:a16="http://schemas.microsoft.com/office/drawing/2014/main" id="{B3A4E8E9-9F79-42CF-B0FC-353A18EE15A2}"/>
                </a:ext>
              </a:extLst>
            </p:cNvPr>
            <p:cNvSpPr/>
            <p:nvPr/>
          </p:nvSpPr>
          <p:spPr>
            <a:xfrm>
              <a:off x="6981523" y="4451037"/>
              <a:ext cx="166532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72" name="Rettangolo 171">
              <a:extLst>
                <a:ext uri="{FF2B5EF4-FFF2-40B4-BE49-F238E27FC236}">
                  <a16:creationId xmlns:a16="http://schemas.microsoft.com/office/drawing/2014/main" id="{AA420848-E456-4872-9466-C2F2B7C34D05}"/>
                </a:ext>
              </a:extLst>
            </p:cNvPr>
            <p:cNvSpPr/>
            <p:nvPr/>
          </p:nvSpPr>
          <p:spPr>
            <a:xfrm>
              <a:off x="6981523" y="4603322"/>
              <a:ext cx="127203" cy="117731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73" name="CasellaDiTesto 133">
              <a:extLst>
                <a:ext uri="{FF2B5EF4-FFF2-40B4-BE49-F238E27FC236}">
                  <a16:creationId xmlns:a16="http://schemas.microsoft.com/office/drawing/2014/main" id="{F5C94B47-BD78-4070-B7F8-C618CC6B4B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06006" y="4238657"/>
              <a:ext cx="477950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  33,8</a:t>
              </a:r>
            </a:p>
          </p:txBody>
        </p:sp>
        <p:sp>
          <p:nvSpPr>
            <p:cNvPr id="174" name="CasellaDiTesto 134">
              <a:extLst>
                <a:ext uri="{FF2B5EF4-FFF2-40B4-BE49-F238E27FC236}">
                  <a16:creationId xmlns:a16="http://schemas.microsoft.com/office/drawing/2014/main" id="{02BF5258-1AA9-4655-A30B-2812C13499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23825" y="4401312"/>
              <a:ext cx="477950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31,5</a:t>
              </a:r>
            </a:p>
          </p:txBody>
        </p:sp>
        <p:sp>
          <p:nvSpPr>
            <p:cNvPr id="175" name="CasellaDiTesto 135">
              <a:extLst>
                <a:ext uri="{FF2B5EF4-FFF2-40B4-BE49-F238E27FC236}">
                  <a16:creationId xmlns:a16="http://schemas.microsoft.com/office/drawing/2014/main" id="{E92FC9D2-ED83-4858-A122-16B1C78AB6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74963" y="4547499"/>
              <a:ext cx="477950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28,7</a:t>
              </a:r>
            </a:p>
          </p:txBody>
        </p:sp>
        <p:sp>
          <p:nvSpPr>
            <p:cNvPr id="176" name="CasellaDiTesto 74">
              <a:extLst>
                <a:ext uri="{FF2B5EF4-FFF2-40B4-BE49-F238E27FC236}">
                  <a16:creationId xmlns:a16="http://schemas.microsoft.com/office/drawing/2014/main" id="{F7DFFCEB-0A65-4B42-8776-6E16C9C08F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4248568"/>
              <a:ext cx="119880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err="1">
                  <a:solidFill>
                    <a:srgbClr val="003A79"/>
                  </a:solidFill>
                  <a:latin typeface="Century Gothic" panose="020B0502020202020204" pitchFamily="34" charset="0"/>
                </a:rPr>
                <a:t>Unicredit</a:t>
              </a:r>
              <a:endParaRPr lang="en-GB" altLang="it-IT" sz="933">
                <a:solidFill>
                  <a:srgbClr val="003A79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77" name="CasellaDiTesto 74">
              <a:extLst>
                <a:ext uri="{FF2B5EF4-FFF2-40B4-BE49-F238E27FC236}">
                  <a16:creationId xmlns:a16="http://schemas.microsoft.com/office/drawing/2014/main" id="{64BC4812-E257-4C29-B445-F4A9F725C9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1801" y="4400601"/>
              <a:ext cx="1115846" cy="192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Crédit Agricole</a:t>
              </a:r>
            </a:p>
          </p:txBody>
        </p:sp>
      </p:grpSp>
      <p:grpSp>
        <p:nvGrpSpPr>
          <p:cNvPr id="178" name="Gruppo 13312">
            <a:extLst>
              <a:ext uri="{FF2B5EF4-FFF2-40B4-BE49-F238E27FC236}">
                <a16:creationId xmlns:a16="http://schemas.microsoft.com/office/drawing/2014/main" id="{E2DB94A4-5CD0-4E9B-9168-FFF604F1AFD8}"/>
              </a:ext>
            </a:extLst>
          </p:cNvPr>
          <p:cNvGrpSpPr>
            <a:grpSpLocks/>
          </p:cNvGrpSpPr>
          <p:nvPr/>
        </p:nvGrpSpPr>
        <p:grpSpPr bwMode="auto">
          <a:xfrm>
            <a:off x="6820673" y="803346"/>
            <a:ext cx="4456081" cy="2069864"/>
            <a:chOff x="5256146" y="871260"/>
            <a:chExt cx="3341998" cy="1551420"/>
          </a:xfrm>
        </p:grpSpPr>
        <p:sp>
          <p:nvSpPr>
            <p:cNvPr id="179" name="CasellaDiTesto 6">
              <a:extLst>
                <a:ext uri="{FF2B5EF4-FFF2-40B4-BE49-F238E27FC236}">
                  <a16:creationId xmlns:a16="http://schemas.microsoft.com/office/drawing/2014/main" id="{0769A855-F1E9-4950-B71B-6656A0ED07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4644" y="871260"/>
              <a:ext cx="3333500" cy="445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it-IT" altLang="it-IT" sz="1632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La leadership in Italia si basa su un rapporto duraturo con i clienti</a:t>
              </a:r>
              <a:endParaRPr lang="en-GB" altLang="it-IT" sz="1632" b="1">
                <a:solidFill>
                  <a:srgbClr val="003A79"/>
                </a:solidFill>
                <a:highlight>
                  <a:srgbClr val="FFFF00"/>
                </a:highlight>
                <a:latin typeface="Century Gothic" panose="020B0502020202020204" pitchFamily="34" charset="0"/>
              </a:endParaRPr>
            </a:p>
          </p:txBody>
        </p:sp>
        <p:sp>
          <p:nvSpPr>
            <p:cNvPr id="180" name="Rettangolo 179">
              <a:extLst>
                <a:ext uri="{FF2B5EF4-FFF2-40B4-BE49-F238E27FC236}">
                  <a16:creationId xmlns:a16="http://schemas.microsoft.com/office/drawing/2014/main" id="{EDE6CE1A-2C77-4B3A-9028-99A4454592A3}"/>
                </a:ext>
              </a:extLst>
            </p:cNvPr>
            <p:cNvSpPr/>
            <p:nvPr/>
          </p:nvSpPr>
          <p:spPr>
            <a:xfrm>
              <a:off x="5347629" y="1600226"/>
              <a:ext cx="1392191" cy="155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1" name="Rettangolo 180">
              <a:extLst>
                <a:ext uri="{FF2B5EF4-FFF2-40B4-BE49-F238E27FC236}">
                  <a16:creationId xmlns:a16="http://schemas.microsoft.com/office/drawing/2014/main" id="{F76D68BF-E1E2-4FE3-A3D4-0FF080B0DE4A}"/>
                </a:ext>
              </a:extLst>
            </p:cNvPr>
            <p:cNvSpPr/>
            <p:nvPr/>
          </p:nvSpPr>
          <p:spPr>
            <a:xfrm>
              <a:off x="5347629" y="1812814"/>
              <a:ext cx="1392191" cy="15706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2" name="Rettangolo 181">
              <a:extLst>
                <a:ext uri="{FF2B5EF4-FFF2-40B4-BE49-F238E27FC236}">
                  <a16:creationId xmlns:a16="http://schemas.microsoft.com/office/drawing/2014/main" id="{D862AB8C-6DDC-4BE3-A834-B7B1F143F6F9}"/>
                </a:ext>
              </a:extLst>
            </p:cNvPr>
            <p:cNvSpPr/>
            <p:nvPr/>
          </p:nvSpPr>
          <p:spPr>
            <a:xfrm>
              <a:off x="5347629" y="2026988"/>
              <a:ext cx="1392191" cy="155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3" name="Rettangolo 182">
              <a:extLst>
                <a:ext uri="{FF2B5EF4-FFF2-40B4-BE49-F238E27FC236}">
                  <a16:creationId xmlns:a16="http://schemas.microsoft.com/office/drawing/2014/main" id="{D61CDD44-BDA5-482E-86C5-88187F213D60}"/>
                </a:ext>
              </a:extLst>
            </p:cNvPr>
            <p:cNvSpPr/>
            <p:nvPr/>
          </p:nvSpPr>
          <p:spPr>
            <a:xfrm>
              <a:off x="5347629" y="2239576"/>
              <a:ext cx="1392191" cy="1570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4" name="Rettangolo 183">
              <a:extLst>
                <a:ext uri="{FF2B5EF4-FFF2-40B4-BE49-F238E27FC236}">
                  <a16:creationId xmlns:a16="http://schemas.microsoft.com/office/drawing/2014/main" id="{FA1F82A9-79C3-4CD6-BF1C-B298E44C408D}"/>
                </a:ext>
              </a:extLst>
            </p:cNvPr>
            <p:cNvSpPr/>
            <p:nvPr/>
          </p:nvSpPr>
          <p:spPr>
            <a:xfrm>
              <a:off x="6736645" y="1587301"/>
              <a:ext cx="1123750" cy="165227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5" name="Rettangolo 184">
              <a:extLst>
                <a:ext uri="{FF2B5EF4-FFF2-40B4-BE49-F238E27FC236}">
                  <a16:creationId xmlns:a16="http://schemas.microsoft.com/office/drawing/2014/main" id="{AAE4AFC9-C94A-4C92-8C26-292BA3CB8854}"/>
                </a:ext>
              </a:extLst>
            </p:cNvPr>
            <p:cNvSpPr/>
            <p:nvPr/>
          </p:nvSpPr>
          <p:spPr>
            <a:xfrm>
              <a:off x="6736645" y="1815987"/>
              <a:ext cx="1203284" cy="155475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6" name="Rettangolo 185">
              <a:extLst>
                <a:ext uri="{FF2B5EF4-FFF2-40B4-BE49-F238E27FC236}">
                  <a16:creationId xmlns:a16="http://schemas.microsoft.com/office/drawing/2014/main" id="{54E1CDC9-988E-4A53-BF7D-4FAF9215DA3B}"/>
                </a:ext>
              </a:extLst>
            </p:cNvPr>
            <p:cNvSpPr/>
            <p:nvPr/>
          </p:nvSpPr>
          <p:spPr>
            <a:xfrm>
              <a:off x="6736645" y="2031748"/>
              <a:ext cx="1314405" cy="153888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7" name="Rettangolo 186">
              <a:extLst>
                <a:ext uri="{FF2B5EF4-FFF2-40B4-BE49-F238E27FC236}">
                  <a16:creationId xmlns:a16="http://schemas.microsoft.com/office/drawing/2014/main" id="{DC7D61E9-6160-4097-A781-2E102714E99C}"/>
                </a:ext>
              </a:extLst>
            </p:cNvPr>
            <p:cNvSpPr/>
            <p:nvPr/>
          </p:nvSpPr>
          <p:spPr>
            <a:xfrm>
              <a:off x="6736646" y="2236141"/>
              <a:ext cx="1400098" cy="159947"/>
            </a:xfrm>
            <a:prstGeom prst="rect">
              <a:avLst/>
            </a:prstGeom>
            <a:solidFill>
              <a:srgbClr val="406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3">
                <a:defRPr/>
              </a:pPr>
              <a:endParaRPr lang="en-GB">
                <a:solidFill>
                  <a:prstClr val="white"/>
                </a:solidFill>
                <a:latin typeface="Century Gothic" panose="020F0302020204030204"/>
              </a:endParaRPr>
            </a:p>
          </p:txBody>
        </p:sp>
        <p:sp>
          <p:nvSpPr>
            <p:cNvPr id="188" name="CasellaDiTesto 83">
              <a:extLst>
                <a:ext uri="{FF2B5EF4-FFF2-40B4-BE49-F238E27FC236}">
                  <a16:creationId xmlns:a16="http://schemas.microsoft.com/office/drawing/2014/main" id="{0FDC5966-F01A-49A4-8F3A-16DCF520CA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03879" y="1580435"/>
              <a:ext cx="491966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Loans</a:t>
              </a:r>
            </a:p>
          </p:txBody>
        </p:sp>
        <p:sp>
          <p:nvSpPr>
            <p:cNvPr id="189" name="CasellaDiTesto 84">
              <a:extLst>
                <a:ext uri="{FF2B5EF4-FFF2-40B4-BE49-F238E27FC236}">
                  <a16:creationId xmlns:a16="http://schemas.microsoft.com/office/drawing/2014/main" id="{98F546BC-0C65-4DBE-AFC4-C6066F92B0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38937" y="1795321"/>
              <a:ext cx="656908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defTabSz="914373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Deposits</a:t>
              </a:r>
              <a:r>
                <a:rPr lang="en-GB" altLang="it-IT" sz="933" baseline="30000">
                  <a:solidFill>
                    <a:srgbClr val="003A79"/>
                  </a:solidFill>
                  <a:latin typeface="Century Gothic" panose="020B0502020202020204" pitchFamily="34" charset="0"/>
                </a:rPr>
                <a:t>(2)</a:t>
              </a:r>
              <a:endParaRPr lang="en-GB" altLang="it-IT" sz="933">
                <a:solidFill>
                  <a:srgbClr val="003A79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90" name="CasellaDiTesto 85">
              <a:extLst>
                <a:ext uri="{FF2B5EF4-FFF2-40B4-BE49-F238E27FC236}">
                  <a16:creationId xmlns:a16="http://schemas.microsoft.com/office/drawing/2014/main" id="{9A3D52BB-060E-48A5-B188-FD28A1463F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5392" y="2006308"/>
              <a:ext cx="1150453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defTabSz="932939" eaLnBrk="1" hangingPunct="1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Pension Funds</a:t>
              </a:r>
            </a:p>
          </p:txBody>
        </p:sp>
        <p:sp>
          <p:nvSpPr>
            <p:cNvPr id="191" name="CasellaDiTesto 86">
              <a:extLst>
                <a:ext uri="{FF2B5EF4-FFF2-40B4-BE49-F238E27FC236}">
                  <a16:creationId xmlns:a16="http://schemas.microsoft.com/office/drawing/2014/main" id="{F5FCBA7B-9B92-40A3-8E7C-56D7464E17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5392" y="2220408"/>
              <a:ext cx="1150453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defTabSz="932939" eaLnBrk="1" hangingPunct="1">
                <a:defRPr/>
              </a:pPr>
              <a:r>
                <a:rPr lang="en-GB" altLang="it-IT" sz="933">
                  <a:solidFill>
                    <a:srgbClr val="003A79"/>
                  </a:solidFill>
                  <a:latin typeface="Century Gothic" panose="020B0502020202020204" pitchFamily="34" charset="0"/>
                </a:rPr>
                <a:t>Asset Management</a:t>
              </a:r>
              <a:r>
                <a:rPr lang="en-GB" altLang="it-IT" sz="933" baseline="30000">
                  <a:solidFill>
                    <a:srgbClr val="003A79"/>
                  </a:solidFill>
                  <a:latin typeface="Century Gothic" panose="020B0502020202020204" pitchFamily="34" charset="0"/>
                </a:rPr>
                <a:t>(3)</a:t>
              </a:r>
              <a:endParaRPr lang="en-GB" altLang="it-IT" sz="933">
                <a:solidFill>
                  <a:srgbClr val="003A79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92" name="CasellaDiTesto 87">
              <a:extLst>
                <a:ext uri="{FF2B5EF4-FFF2-40B4-BE49-F238E27FC236}">
                  <a16:creationId xmlns:a16="http://schemas.microsoft.com/office/drawing/2014/main" id="{4C553878-35D6-4BFC-B71F-BB69E33E11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61387" y="1587319"/>
              <a:ext cx="491966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19.1%</a:t>
              </a:r>
            </a:p>
          </p:txBody>
        </p:sp>
        <p:sp>
          <p:nvSpPr>
            <p:cNvPr id="193" name="CasellaDiTesto 88">
              <a:extLst>
                <a:ext uri="{FF2B5EF4-FFF2-40B4-BE49-F238E27FC236}">
                  <a16:creationId xmlns:a16="http://schemas.microsoft.com/office/drawing/2014/main" id="{BC07CCE5-3B91-49B5-BE1C-4988BBFF9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50896" y="1799366"/>
              <a:ext cx="491966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21,9%</a:t>
              </a:r>
            </a:p>
          </p:txBody>
        </p:sp>
        <p:sp>
          <p:nvSpPr>
            <p:cNvPr id="194" name="CasellaDiTesto 89">
              <a:extLst>
                <a:ext uri="{FF2B5EF4-FFF2-40B4-BE49-F238E27FC236}">
                  <a16:creationId xmlns:a16="http://schemas.microsoft.com/office/drawing/2014/main" id="{29384A3E-9742-4DA0-9A91-87AA7C2C22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37588" y="2003758"/>
              <a:ext cx="438893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24.1%</a:t>
              </a:r>
            </a:p>
          </p:txBody>
        </p:sp>
        <p:sp>
          <p:nvSpPr>
            <p:cNvPr id="195" name="CasellaDiTesto 90">
              <a:extLst>
                <a:ext uri="{FF2B5EF4-FFF2-40B4-BE49-F238E27FC236}">
                  <a16:creationId xmlns:a16="http://schemas.microsoft.com/office/drawing/2014/main" id="{95D24724-A6ED-4D38-A999-4AA37F6C61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12582" y="2245868"/>
              <a:ext cx="465270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24.8%</a:t>
              </a:r>
            </a:p>
          </p:txBody>
        </p:sp>
        <p:sp>
          <p:nvSpPr>
            <p:cNvPr id="196" name="CasellaDiTesto 91">
              <a:extLst>
                <a:ext uri="{FF2B5EF4-FFF2-40B4-BE49-F238E27FC236}">
                  <a16:creationId xmlns:a16="http://schemas.microsoft.com/office/drawing/2014/main" id="{2DA301F5-A0A7-46F0-9448-639156D351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56146" y="1397558"/>
              <a:ext cx="991708" cy="192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1067">
                  <a:solidFill>
                    <a:srgbClr val="003A79"/>
                  </a:solidFill>
                  <a:latin typeface="Century Gothic" panose="020B0502020202020204" pitchFamily="34" charset="0"/>
                </a:rPr>
                <a:t>Ranking in Italy </a:t>
              </a:r>
            </a:p>
          </p:txBody>
        </p:sp>
        <p:sp>
          <p:nvSpPr>
            <p:cNvPr id="197" name="CasellaDiTesto 92">
              <a:extLst>
                <a:ext uri="{FF2B5EF4-FFF2-40B4-BE49-F238E27FC236}">
                  <a16:creationId xmlns:a16="http://schemas.microsoft.com/office/drawing/2014/main" id="{0789DB7F-74F5-4326-B82F-670E76DC42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8290" y="1580435"/>
              <a:ext cx="214515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sp>
          <p:nvSpPr>
            <p:cNvPr id="198" name="CasellaDiTesto 93">
              <a:extLst>
                <a:ext uri="{FF2B5EF4-FFF2-40B4-BE49-F238E27FC236}">
                  <a16:creationId xmlns:a16="http://schemas.microsoft.com/office/drawing/2014/main" id="{913EDDB0-1B77-4C11-8F1C-59BA03FD4E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8290" y="1795321"/>
              <a:ext cx="214515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sp>
          <p:nvSpPr>
            <p:cNvPr id="199" name="CasellaDiTesto 94">
              <a:extLst>
                <a:ext uri="{FF2B5EF4-FFF2-40B4-BE49-F238E27FC236}">
                  <a16:creationId xmlns:a16="http://schemas.microsoft.com/office/drawing/2014/main" id="{CA00D27B-E851-47F3-92C5-8EB80947AF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8290" y="2006308"/>
              <a:ext cx="214515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sp>
          <p:nvSpPr>
            <p:cNvPr id="200" name="CasellaDiTesto 95">
              <a:extLst>
                <a:ext uri="{FF2B5EF4-FFF2-40B4-BE49-F238E27FC236}">
                  <a16:creationId xmlns:a16="http://schemas.microsoft.com/office/drawing/2014/main" id="{D7D05D9A-4BB2-4503-9052-50F1AB0885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8290" y="2220408"/>
              <a:ext cx="214515" cy="176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373">
                <a:defRPr/>
              </a:pPr>
              <a:r>
                <a:rPr lang="en-GB" altLang="it-IT" sz="933" b="1">
                  <a:solidFill>
                    <a:srgbClr val="003A79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sp>
        <p:nvSpPr>
          <p:cNvPr id="201" name="Text Placeholder 4">
            <a:extLst>
              <a:ext uri="{FF2B5EF4-FFF2-40B4-BE49-F238E27FC236}">
                <a16:creationId xmlns:a16="http://schemas.microsoft.com/office/drawing/2014/main" id="{58D9D0D0-6987-46B5-A0F7-6B3CEC34490C}"/>
              </a:ext>
            </a:extLst>
          </p:cNvPr>
          <p:cNvSpPr txBox="1">
            <a:spLocks/>
          </p:cNvSpPr>
          <p:nvPr/>
        </p:nvSpPr>
        <p:spPr>
          <a:xfrm>
            <a:off x="6893545" y="6216227"/>
            <a:ext cx="3439532" cy="282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812841" indent="-812841" defTabSz="895350">
              <a:tabLst>
                <a:tab pos="630238" algn="l"/>
              </a:tabLst>
              <a:defRPr sz="1000">
                <a:solidFill>
                  <a:schemeClr val="accent6"/>
                </a:solidFill>
                <a:latin typeface="Century Gothic" panose="020B0502020202020204" pitchFamily="34" charset="0"/>
                <a:ea typeface="Open Sans"/>
                <a:cs typeface="Open Sans"/>
              </a:defRPr>
            </a:lvl1pPr>
            <a:lvl2pPr marL="803275" indent="-307975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defTabSz="4937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6pPr>
            <a:lvl7pPr marL="3219351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7pPr>
            <a:lvl8pPr marL="3714636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8pPr>
            <a:lvl9pPr marL="4209920" indent="-247642" defTabSz="495285">
              <a:spcBef>
                <a:spcPct val="20000"/>
              </a:spcBef>
              <a:buFont typeface="Arial"/>
              <a:buChar char="•"/>
              <a:defRPr sz="2167">
                <a:latin typeface="+mn-lt"/>
              </a:defRPr>
            </a:lvl9pPr>
          </a:lstStyle>
          <a:p>
            <a:pPr marL="829322" indent="-829322" defTabSz="913504" eaLnBrk="1" hangingPunct="1">
              <a:tabLst>
                <a:tab pos="643016" algn="l"/>
              </a:tabLst>
              <a:defRPr/>
            </a:pPr>
            <a:r>
              <a:rPr lang="en-GB" sz="919">
                <a:solidFill>
                  <a:srgbClr val="808080"/>
                </a:solidFill>
              </a:rPr>
              <a:t>Fonte: Bloomberg prices as at 31 March 2023</a:t>
            </a:r>
          </a:p>
          <a:p>
            <a:pPr marL="829322" indent="-829322" defTabSz="913504" eaLnBrk="1" hangingPunct="1">
              <a:tabLst>
                <a:tab pos="643016" algn="l"/>
              </a:tabLst>
              <a:defRPr/>
            </a:pPr>
            <a:endParaRPr lang="en-GB" sz="919">
              <a:solidFill>
                <a:srgbClr val="808080"/>
              </a:solidFill>
            </a:endParaRPr>
          </a:p>
        </p:txBody>
      </p:sp>
      <p:sp>
        <p:nvSpPr>
          <p:cNvPr id="202" name="Text Placeholder 4">
            <a:extLst>
              <a:ext uri="{FF2B5EF4-FFF2-40B4-BE49-F238E27FC236}">
                <a16:creationId xmlns:a16="http://schemas.microsoft.com/office/drawing/2014/main" id="{7DBF56AF-9641-4936-B0F1-487E6E37B653}"/>
              </a:ext>
            </a:extLst>
          </p:cNvPr>
          <p:cNvSpPr txBox="1">
            <a:spLocks/>
          </p:cNvSpPr>
          <p:nvPr/>
        </p:nvSpPr>
        <p:spPr>
          <a:xfrm>
            <a:off x="6888954" y="2846931"/>
            <a:ext cx="3439532" cy="671184"/>
          </a:xfrm>
          <a:prstGeom prst="rect">
            <a:avLst/>
          </a:prstGeom>
        </p:spPr>
        <p:txBody>
          <a:bodyPr/>
          <a:lstStyle>
            <a:lvl1pPr marL="0" indent="0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803275" indent="-307975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2366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7319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227263" indent="-246063" algn="l" defTabSz="49371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724066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495285" rtl="0" eaLnBrk="1" latinLnBrk="0" hangingPunct="1">
              <a:spcBef>
                <a:spcPct val="20000"/>
              </a:spcBef>
              <a:buFont typeface="Arial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93698">
              <a:defRPr/>
            </a:pPr>
            <a:r>
              <a:rPr lang="en-GB" sz="80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Figures as at 31 December 2022</a:t>
            </a:r>
            <a:endParaRPr lang="en-GB" sz="80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defTabSz="493698">
              <a:defRPr/>
            </a:pPr>
            <a:r>
              <a:rPr lang="en-GB" sz="800">
                <a:solidFill>
                  <a:srgbClr val="000000"/>
                </a:solidFill>
                <a:latin typeface="Century Gothic" panose="020B0502020202020204" pitchFamily="34" charset="0"/>
              </a:rPr>
              <a:t>(2) Including Bonds</a:t>
            </a:r>
          </a:p>
          <a:p>
            <a:pPr defTabSz="493698">
              <a:defRPr/>
            </a:pPr>
            <a:r>
              <a:rPr lang="en-GB" sz="800">
                <a:solidFill>
                  <a:srgbClr val="000000"/>
                </a:solidFill>
                <a:latin typeface="Century Gothic" panose="020B0502020202020204" pitchFamily="34" charset="0"/>
              </a:rPr>
              <a:t>(3) Mutual Funds; Data as at 30 September 2022</a:t>
            </a:r>
          </a:p>
          <a:p>
            <a:pPr marL="304783" indent="-304783" defTabSz="493698">
              <a:buFont typeface="Arial" panose="020B0604020202020204" pitchFamily="34" charset="0"/>
              <a:buAutoNum type="arabicParenBoth"/>
              <a:defRPr/>
            </a:pPr>
            <a:endParaRPr lang="en-GB" sz="933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  <a:p>
            <a:pPr marL="228588" indent="-228588" defTabSz="493698">
              <a:buFont typeface="Arial" panose="020B0604020202020204" pitchFamily="34" charset="0"/>
              <a:buAutoNum type="arabicParenBoth"/>
              <a:defRPr/>
            </a:pPr>
            <a:endParaRPr lang="en-GB" sz="933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sz="2000"/>
              <a:t>Highlights</a:t>
            </a:r>
          </a:p>
          <a:p>
            <a:endParaRPr lang="it-IT"/>
          </a:p>
        </p:txBody>
      </p:sp>
      <p:sp>
        <p:nvSpPr>
          <p:cNvPr id="112" name="CasellaDiTesto 104">
            <a:extLst>
              <a:ext uri="{FF2B5EF4-FFF2-40B4-BE49-F238E27FC236}">
                <a16:creationId xmlns:a16="http://schemas.microsoft.com/office/drawing/2014/main" id="{55FFF409-D5F9-4025-8C7F-531C6EE9C7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6795" y="4302724"/>
            <a:ext cx="262351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3">
              <a:defRPr/>
            </a:pPr>
            <a:r>
              <a: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14" name="CasellaDiTesto 109">
            <a:extLst>
              <a:ext uri="{FF2B5EF4-FFF2-40B4-BE49-F238E27FC236}">
                <a16:creationId xmlns:a16="http://schemas.microsoft.com/office/drawing/2014/main" id="{8A6AA045-1B6F-468E-BEDD-6BED0FCAED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6796" y="5406887"/>
            <a:ext cx="271497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3">
              <a:defRPr/>
            </a:pPr>
            <a:r>
              <a: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116" name="CasellaDiTesto 109">
            <a:extLst>
              <a:ext uri="{FF2B5EF4-FFF2-40B4-BE49-F238E27FC236}">
                <a16:creationId xmlns:a16="http://schemas.microsoft.com/office/drawing/2014/main" id="{811BDB7F-4847-4F9D-9FAA-F1C28197F4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1718" y="5601535"/>
            <a:ext cx="262351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3">
              <a:defRPr/>
            </a:pPr>
            <a:r>
              <a: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270" name="Titolo 1">
            <a:extLst>
              <a:ext uri="{FF2B5EF4-FFF2-40B4-BE49-F238E27FC236}">
                <a16:creationId xmlns:a16="http://schemas.microsoft.com/office/drawing/2014/main" id="{E4C630FC-ADF6-457A-B17A-4A11F549537D}"/>
              </a:ext>
            </a:extLst>
          </p:cNvPr>
          <p:cNvSpPr txBox="1">
            <a:spLocks/>
          </p:cNvSpPr>
          <p:nvPr/>
        </p:nvSpPr>
        <p:spPr>
          <a:xfrm>
            <a:off x="544069" y="374651"/>
            <a:ext cx="10363047" cy="545043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>
              <a:defRPr sz="214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algn="ctr">
              <a:defRPr sz="4400">
                <a:latin typeface="Calibri" charset="0"/>
                <a:cs typeface="MS PGothic" charset="0"/>
              </a:defRPr>
            </a:lvl2pPr>
            <a:lvl3pPr algn="ctr">
              <a:defRPr sz="4400">
                <a:latin typeface="Calibri" charset="0"/>
                <a:cs typeface="MS PGothic" charset="0"/>
              </a:defRPr>
            </a:lvl3pPr>
            <a:lvl4pPr algn="ctr">
              <a:defRPr sz="4400">
                <a:latin typeface="Calibri" charset="0"/>
                <a:cs typeface="MS PGothic" charset="0"/>
              </a:defRPr>
            </a:lvl4pPr>
            <a:lvl5pPr algn="ctr">
              <a:defRPr sz="4400">
                <a:latin typeface="Calibri" charset="0"/>
                <a:cs typeface="MS PGothic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defTabSz="609585">
              <a:defRPr/>
            </a:pPr>
            <a:r>
              <a:rPr lang="it-IT" sz="2853">
                <a:solidFill>
                  <a:srgbClr val="1F497D"/>
                </a:solidFill>
                <a:ea typeface="MS PGothic" panose="020B0600070205080204" pitchFamily="34" charset="-128"/>
              </a:rPr>
              <a:t>Il Gruppo Intesa Sanpaolo</a:t>
            </a:r>
          </a:p>
        </p:txBody>
      </p:sp>
      <p:sp>
        <p:nvSpPr>
          <p:cNvPr id="120" name="CasellaDiTesto 104">
            <a:extLst>
              <a:ext uri="{FF2B5EF4-FFF2-40B4-BE49-F238E27FC236}">
                <a16:creationId xmlns:a16="http://schemas.microsoft.com/office/drawing/2014/main" id="{91C0F417-8184-4309-989B-F6279A2EE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1718" y="4474675"/>
            <a:ext cx="262351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3">
              <a:defRPr/>
            </a:pPr>
            <a:r>
              <a: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21" name="Rettangolo 120">
            <a:extLst>
              <a:ext uri="{FF2B5EF4-FFF2-40B4-BE49-F238E27FC236}">
                <a16:creationId xmlns:a16="http://schemas.microsoft.com/office/drawing/2014/main" id="{B11D153B-F04F-4CE6-A5CA-07F3A818ED14}"/>
              </a:ext>
            </a:extLst>
          </p:cNvPr>
          <p:cNvSpPr/>
          <p:nvPr/>
        </p:nvSpPr>
        <p:spPr bwMode="auto">
          <a:xfrm>
            <a:off x="9107510" y="4734029"/>
            <a:ext cx="585989" cy="144000"/>
          </a:xfrm>
          <a:prstGeom prst="rect">
            <a:avLst/>
          </a:prstGeom>
          <a:solidFill>
            <a:srgbClr val="4091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3">
              <a:defRPr/>
            </a:pPr>
            <a:endParaRPr lang="en-GB" sz="2400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132" name="CasellaDiTesto 109">
            <a:extLst>
              <a:ext uri="{FF2B5EF4-FFF2-40B4-BE49-F238E27FC236}">
                <a16:creationId xmlns:a16="http://schemas.microsoft.com/office/drawing/2014/main" id="{21B7B4C4-26E4-4931-A1BB-3C62B75BD1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1718" y="5783123"/>
            <a:ext cx="375815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73">
              <a:defRPr/>
            </a:pPr>
            <a:r>
              <a:rPr lang="en-GB" altLang="it-IT" sz="933" b="1">
                <a:solidFill>
                  <a:srgbClr val="003A79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137" name="CasellaDiTesto 136">
            <a:extLst>
              <a:ext uri="{FF2B5EF4-FFF2-40B4-BE49-F238E27FC236}">
                <a16:creationId xmlns:a16="http://schemas.microsoft.com/office/drawing/2014/main" id="{E86F835F-047F-45D0-B843-F507C8ACE029}"/>
              </a:ext>
            </a:extLst>
          </p:cNvPr>
          <p:cNvSpPr txBox="1"/>
          <p:nvPr/>
        </p:nvSpPr>
        <p:spPr>
          <a:xfrm>
            <a:off x="7577783" y="5973030"/>
            <a:ext cx="862488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3">
              <a:defRPr/>
            </a:pPr>
            <a:r>
              <a:rPr lang="en-GB" altLang="it-IT" sz="933">
                <a:solidFill>
                  <a:srgbClr val="003A79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NatWest</a:t>
            </a:r>
          </a:p>
        </p:txBody>
      </p:sp>
    </p:spTree>
    <p:extLst>
      <p:ext uri="{BB962C8B-B14F-4D97-AF65-F5344CB8AC3E}">
        <p14:creationId xmlns:p14="http://schemas.microsoft.com/office/powerpoint/2010/main" val="12933374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7483DA12-5609-0C49-BFCB-992148773AE2}"/>
              </a:ext>
            </a:extLst>
          </p:cNvPr>
          <p:cNvSpPr/>
          <p:nvPr/>
        </p:nvSpPr>
        <p:spPr>
          <a:xfrm>
            <a:off x="2159059" y="4816526"/>
            <a:ext cx="8233638" cy="10967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I contenuti di questo documento sono di proprietà di Intesa Sanpaolo e sono protetti dalle norme sul diritto d'autore e sui segni distintivi. Tutti i diritti sono riservati. 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Pertanto, senza il preventivo consenso formale di Intesa Sanpaolo, il suddetto materiale non può essere copiato, scaricato, riprodotto, utilizzato su altri siti Internet, modificato, trasferito, distribuito o comunicato a terzi se non per uso esclusivamente personale, restando in ogni caso vietato ogni utilizzo commerciale.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I contenuti non di proprietà di Intesa Sanpaolo ma di soggetti terzi di volta in volta indicati, possono essere utilizzati solo rispettando i diritti di tali soggetti terzi e le regole dagli stessi fissate, cui pertanto si rinvia.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it-IT" sz="816">
                <a:solidFill>
                  <a:prstClr val="black"/>
                </a:solidFill>
                <a:latin typeface="Century Gothic" panose="020B0502020202020204" pitchFamily="34" charset="0"/>
              </a:rPr>
              <a:t>Pur ponendo cura nella redazione dei contenuti, Intesa Sanpaolo non assume alcuna responsabilità per eventuali errori od omissioni di qualsiasi tipo e per qualunque tipo di danno diretto, indiretto o accidentale derivante dalla lettura o dall'impiego delle informazioni pubblicate o di qualsiasi forma di contenuto presente nel documento o per l'accesso o l'uso del materiale contenuto in altri siti collegati.</a:t>
            </a:r>
          </a:p>
        </p:txBody>
      </p:sp>
    </p:spTree>
    <p:extLst>
      <p:ext uri="{BB962C8B-B14F-4D97-AF65-F5344CB8AC3E}">
        <p14:creationId xmlns:p14="http://schemas.microsoft.com/office/powerpoint/2010/main" val="190155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44"/>
          <a:stretch/>
        </p:blipFill>
        <p:spPr>
          <a:xfrm>
            <a:off x="4935885" y="-11311"/>
            <a:ext cx="7256026" cy="4765038"/>
          </a:xfrm>
          <a:prstGeom prst="parallelogram">
            <a:avLst>
              <a:gd name="adj" fmla="val 0"/>
            </a:avLst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BFD65287-0AB5-5546-9D44-678F6AC25216}"/>
              </a:ext>
            </a:extLst>
          </p:cNvPr>
          <p:cNvSpPr/>
          <p:nvPr/>
        </p:nvSpPr>
        <p:spPr>
          <a:xfrm>
            <a:off x="4879755" y="67"/>
            <a:ext cx="5826771" cy="4763816"/>
          </a:xfrm>
          <a:prstGeom prst="rect">
            <a:avLst/>
          </a:prstGeom>
          <a:gradFill>
            <a:gsLst>
              <a:gs pos="1000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404828" y="1850940"/>
            <a:ext cx="3314921" cy="1788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dentifichiamo</a:t>
            </a:r>
            <a:b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e startup più promettenti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un elevato potenziale </a:t>
            </a:r>
            <a:b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 sviluppo e le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osteniamo nella crescita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ornendo servizi non finanziari. </a:t>
            </a:r>
            <a:endParaRPr kumimoji="0" lang="it-IT" sz="183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04828" y="1009933"/>
            <a:ext cx="3995004" cy="5320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2857" b="0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tartup</a:t>
            </a:r>
            <a:r>
              <a:rPr kumimoji="0" lang="en-GB" altLang="it-IT" sz="2857" b="0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evelopment</a:t>
            </a:r>
          </a:p>
        </p:txBody>
      </p:sp>
      <p:sp>
        <p:nvSpPr>
          <p:cNvPr id="4" name="Rettangolo 3"/>
          <p:cNvSpPr/>
          <p:nvPr/>
        </p:nvSpPr>
        <p:spPr>
          <a:xfrm>
            <a:off x="390019" y="4991511"/>
            <a:ext cx="1673921" cy="84768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Percorsi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di </a:t>
            </a: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accelerazione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e </a:t>
            </a: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crescita</a:t>
            </a: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2640368" y="4986410"/>
            <a:ext cx="3083241" cy="59652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Programmi di Scale </a:t>
            </a:r>
            <a:r>
              <a:rPr lang="it-IT" sz="1632" b="1">
                <a:solidFill>
                  <a:srgbClr val="003A79"/>
                </a:solidFill>
                <a:latin typeface="Century Gothic"/>
                <a:cs typeface="Arial"/>
              </a:rPr>
              <a:t>Up e internazionalizzazione </a:t>
            </a: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highlight>
                  <a:srgbClr val="C0C0C0"/>
                </a:highlight>
                <a:uLnTx/>
                <a:uFillTx/>
                <a:latin typeface="Century Gothic"/>
                <a:ea typeface="+mn-ea"/>
                <a:cs typeface="Arial"/>
              </a:rPr>
              <a:t>​</a:t>
            </a:r>
          </a:p>
        </p:txBody>
      </p:sp>
      <p:cxnSp>
        <p:nvCxnSpPr>
          <p:cNvPr id="10" name="Connettore 1 9"/>
          <p:cNvCxnSpPr>
            <a:cxnSpLocks/>
          </p:cNvCxnSpPr>
          <p:nvPr/>
        </p:nvCxnSpPr>
        <p:spPr>
          <a:xfrm>
            <a:off x="450084" y="4752436"/>
            <a:ext cx="117418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1 17"/>
          <p:cNvCxnSpPr/>
          <p:nvPr/>
        </p:nvCxnSpPr>
        <p:spPr>
          <a:xfrm>
            <a:off x="450084" y="5833863"/>
            <a:ext cx="113565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5723609" y="4986410"/>
            <a:ext cx="3828023" cy="60672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Piattaforma di Open Innovation ​</a:t>
            </a:r>
            <a:b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</a:b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per la ricerca di partner tecnologici​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B042523B-5F3F-47BA-ADD0-83C43BE042FE}"/>
              </a:ext>
            </a:extLst>
          </p:cNvPr>
          <p:cNvSpPr/>
          <p:nvPr/>
        </p:nvSpPr>
        <p:spPr>
          <a:xfrm>
            <a:off x="9941691" y="4988458"/>
            <a:ext cx="1930985" cy="59652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Sviluppo prodotti di funding</a:t>
            </a:r>
          </a:p>
        </p:txBody>
      </p:sp>
    </p:spTree>
    <p:extLst>
      <p:ext uri="{BB962C8B-B14F-4D97-AF65-F5344CB8AC3E}">
        <p14:creationId xmlns:p14="http://schemas.microsoft.com/office/powerpoint/2010/main" val="1991137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390"/>
          <a:stretch/>
        </p:blipFill>
        <p:spPr>
          <a:xfrm>
            <a:off x="4906183" y="-28172"/>
            <a:ext cx="7285728" cy="4787088"/>
          </a:xfrm>
          <a:prstGeom prst="parallelogram">
            <a:avLst>
              <a:gd name="adj" fmla="val 0"/>
            </a:avLst>
          </a:prstGeom>
        </p:spPr>
      </p:pic>
      <p:sp>
        <p:nvSpPr>
          <p:cNvPr id="16" name="Rettangolo 15">
            <a:extLst>
              <a:ext uri="{FF2B5EF4-FFF2-40B4-BE49-F238E27FC236}">
                <a16:creationId xmlns:a16="http://schemas.microsoft.com/office/drawing/2014/main" id="{928A7C96-5E66-7B47-8827-1972FE94D8A5}"/>
              </a:ext>
            </a:extLst>
          </p:cNvPr>
          <p:cNvSpPr/>
          <p:nvPr/>
        </p:nvSpPr>
        <p:spPr>
          <a:xfrm>
            <a:off x="4626163" y="-7656"/>
            <a:ext cx="5747274" cy="4763816"/>
          </a:xfrm>
          <a:prstGeom prst="rect">
            <a:avLst/>
          </a:prstGeom>
          <a:gradFill>
            <a:gsLst>
              <a:gs pos="6000">
                <a:schemeClr val="bg1"/>
              </a:gs>
              <a:gs pos="95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390019" y="1989619"/>
            <a:ext cx="3926542" cy="1790443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Facilitiamo l'accesso delle imprese a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soluzioni innovative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a supporto dello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sviluppo tecnologico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, promuovendo il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de-</a:t>
            </a:r>
            <a:r>
              <a:rPr kumimoji="0" lang="it-IT" sz="1837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risking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e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la competitività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. </a:t>
            </a:r>
            <a:endParaRPr kumimoji="0" lang="it-IT" sz="183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04828" y="1009933"/>
            <a:ext cx="4283545" cy="5320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2857" b="0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usiness Transformation</a:t>
            </a:r>
          </a:p>
        </p:txBody>
      </p:sp>
      <p:sp>
        <p:nvSpPr>
          <p:cNvPr id="4" name="Rettangolo 3"/>
          <p:cNvSpPr/>
          <p:nvPr/>
        </p:nvSpPr>
        <p:spPr>
          <a:xfrm>
            <a:off x="390019" y="4881039"/>
            <a:ext cx="2597168" cy="845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ttività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i Tech-scouting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e match-making</a:t>
            </a:r>
            <a:b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9131235" y="4883899"/>
            <a:ext cx="2916697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Tech-tour immersivi negli ecosistemi più innovativi</a:t>
            </a: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nettore 1 9"/>
          <p:cNvCxnSpPr>
            <a:cxnSpLocks/>
          </p:cNvCxnSpPr>
          <p:nvPr/>
        </p:nvCxnSpPr>
        <p:spPr>
          <a:xfrm>
            <a:off x="450084" y="4758915"/>
            <a:ext cx="117418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1 17"/>
          <p:cNvCxnSpPr/>
          <p:nvPr/>
        </p:nvCxnSpPr>
        <p:spPr>
          <a:xfrm>
            <a:off x="450084" y="5833863"/>
            <a:ext cx="113565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olo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1C91BBC7-BFA7-F641-89E2-1FFFD2A5BE88}"/>
              </a:ext>
            </a:extLst>
          </p:cNvPr>
          <p:cNvSpPr/>
          <p:nvPr/>
        </p:nvSpPr>
        <p:spPr>
          <a:xfrm>
            <a:off x="3217380" y="4884440"/>
            <a:ext cx="2597169" cy="60672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Programmi di Open Innovation</a:t>
            </a:r>
            <a:endParaRPr kumimoji="0" lang="it-IT" sz="1632" b="0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2B3ED3D3-8535-8C49-9646-6C7A155885C0}"/>
              </a:ext>
            </a:extLst>
          </p:cNvPr>
          <p:cNvSpPr/>
          <p:nvPr/>
        </p:nvSpPr>
        <p:spPr>
          <a:xfrm>
            <a:off x="5667160" y="4881039"/>
            <a:ext cx="3401244" cy="847685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dvisory</a:t>
            </a: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per la trasformazione in ottica circolare 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attraverso il                   )</a:t>
            </a: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8FED6804-6BAE-4F3F-908E-121D32D87F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88"/>
          <a:stretch/>
        </p:blipFill>
        <p:spPr>
          <a:xfrm>
            <a:off x="6999550" y="5331277"/>
            <a:ext cx="1137458" cy="45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010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>
            <a:extLst>
              <a:ext uri="{FF2B5EF4-FFF2-40B4-BE49-F238E27FC236}">
                <a16:creationId xmlns:a16="http://schemas.microsoft.com/office/drawing/2014/main" id="{B52BFDDE-88D8-344F-8BA0-067F2F8A8F4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830" b="3830"/>
          <a:stretch/>
        </p:blipFill>
        <p:spPr>
          <a:xfrm>
            <a:off x="1995400" y="0"/>
            <a:ext cx="10205653" cy="6183341"/>
          </a:xfrm>
          <a:prstGeom prst="rect">
            <a:avLst/>
          </a:prstGeom>
        </p:spPr>
      </p:pic>
      <p:sp>
        <p:nvSpPr>
          <p:cNvPr id="31" name="Ovale 30">
            <a:extLst>
              <a:ext uri="{FF2B5EF4-FFF2-40B4-BE49-F238E27FC236}">
                <a16:creationId xmlns:a16="http://schemas.microsoft.com/office/drawing/2014/main" id="{53DEC03A-66C7-4442-BC64-EC5498731063}"/>
              </a:ext>
            </a:extLst>
          </p:cNvPr>
          <p:cNvSpPr/>
          <p:nvPr/>
        </p:nvSpPr>
        <p:spPr>
          <a:xfrm>
            <a:off x="5128148" y="252537"/>
            <a:ext cx="2228541" cy="2228541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26000">
                <a:schemeClr val="accent1">
                  <a:shade val="100000"/>
                  <a:satMod val="115000"/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sp>
        <p:nvSpPr>
          <p:cNvPr id="2" name="Rettangolo 1"/>
          <p:cNvSpPr/>
          <p:nvPr/>
        </p:nvSpPr>
        <p:spPr>
          <a:xfrm>
            <a:off x="404828" y="2351454"/>
            <a:ext cx="3666476" cy="2353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avoriamo lo sviluppo di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cosistemi di innovazione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 respiro internazionale, sviluppando e coordinando il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etwork di relazioni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imprese, incubatori, centri di ricerca, università e altri enti nazionali e internazionali.</a:t>
            </a:r>
            <a:endParaRPr kumimoji="0" lang="en-US" sz="183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04828" y="1009933"/>
            <a:ext cx="3685624" cy="5320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2857" b="0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cosystem Enabling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3F734BF6-7B6F-3D4C-96AA-02174C3FF721}"/>
              </a:ext>
            </a:extLst>
          </p:cNvPr>
          <p:cNvSpPr/>
          <p:nvPr/>
        </p:nvSpPr>
        <p:spPr>
          <a:xfrm rot="10800000">
            <a:off x="5798849" y="2555"/>
            <a:ext cx="6404396" cy="1129483"/>
          </a:xfrm>
          <a:prstGeom prst="rect">
            <a:avLst/>
          </a:prstGeom>
          <a:gradFill flip="none" rotWithShape="1">
            <a:gsLst>
              <a:gs pos="0">
                <a:srgbClr val="052431">
                  <a:alpha val="0"/>
                </a:srgbClr>
              </a:gs>
              <a:gs pos="73000">
                <a:srgbClr val="05243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F244C01-10A5-3E4F-A4DE-05D0D3651F9B}"/>
              </a:ext>
            </a:extLst>
          </p:cNvPr>
          <p:cNvSpPr/>
          <p:nvPr/>
        </p:nvSpPr>
        <p:spPr>
          <a:xfrm rot="10800000">
            <a:off x="7674411" y="3631925"/>
            <a:ext cx="4528834" cy="920591"/>
          </a:xfrm>
          <a:prstGeom prst="rect">
            <a:avLst/>
          </a:prstGeom>
          <a:gradFill flip="none" rotWithShape="1">
            <a:gsLst>
              <a:gs pos="0">
                <a:srgbClr val="052431">
                  <a:alpha val="0"/>
                </a:srgbClr>
              </a:gs>
              <a:gs pos="100000">
                <a:srgbClr val="05243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9093732" y="3780733"/>
            <a:ext cx="1528136" cy="555874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apoli 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ioeconomia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098895C3-2C5B-8146-9E8B-14D9CCA925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1436" y="3661146"/>
            <a:ext cx="1185725" cy="850451"/>
          </a:xfrm>
          <a:prstGeom prst="rect">
            <a:avLst/>
          </a:prstGeom>
        </p:spPr>
      </p:pic>
      <p:sp>
        <p:nvSpPr>
          <p:cNvPr id="38" name="Rettangolo 37">
            <a:extLst>
              <a:ext uri="{FF2B5EF4-FFF2-40B4-BE49-F238E27FC236}">
                <a16:creationId xmlns:a16="http://schemas.microsoft.com/office/drawing/2014/main" id="{630ED32D-C534-0544-8813-A865829FFAEA}"/>
              </a:ext>
            </a:extLst>
          </p:cNvPr>
          <p:cNvSpPr/>
          <p:nvPr/>
        </p:nvSpPr>
        <p:spPr>
          <a:xfrm rot="10800000">
            <a:off x="7091549" y="2488947"/>
            <a:ext cx="5111696" cy="939407"/>
          </a:xfrm>
          <a:prstGeom prst="rect">
            <a:avLst/>
          </a:prstGeom>
          <a:gradFill flip="none" rotWithShape="1">
            <a:gsLst>
              <a:gs pos="0">
                <a:srgbClr val="052431">
                  <a:alpha val="0"/>
                </a:srgbClr>
              </a:gs>
              <a:gs pos="100000">
                <a:srgbClr val="05243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01182A7C-096A-B74A-89B5-0E7896AA441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97" t="36999" r="9661" b="25708"/>
          <a:stretch/>
        </p:blipFill>
        <p:spPr>
          <a:xfrm>
            <a:off x="10628412" y="2615694"/>
            <a:ext cx="1571773" cy="828011"/>
          </a:xfrm>
          <a:prstGeom prst="rect">
            <a:avLst/>
          </a:prstGeom>
        </p:spPr>
      </p:pic>
      <p:sp>
        <p:nvSpPr>
          <p:cNvPr id="6" name="Ovale 5">
            <a:extLst>
              <a:ext uri="{FF2B5EF4-FFF2-40B4-BE49-F238E27FC236}">
                <a16:creationId xmlns:a16="http://schemas.microsoft.com/office/drawing/2014/main" id="{F0A06F6E-75F9-CC42-BA4B-91D7EECBEF0C}"/>
              </a:ext>
            </a:extLst>
          </p:cNvPr>
          <p:cNvSpPr/>
          <p:nvPr/>
        </p:nvSpPr>
        <p:spPr>
          <a:xfrm>
            <a:off x="6454034" y="837106"/>
            <a:ext cx="2228541" cy="2228541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26000">
                <a:schemeClr val="accent1">
                  <a:shade val="100000"/>
                  <a:satMod val="115000"/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Ovale 29">
            <a:extLst>
              <a:ext uri="{FF2B5EF4-FFF2-40B4-BE49-F238E27FC236}">
                <a16:creationId xmlns:a16="http://schemas.microsoft.com/office/drawing/2014/main" id="{FB0B060C-9D10-8240-806A-8BDE9502547A}"/>
              </a:ext>
            </a:extLst>
          </p:cNvPr>
          <p:cNvSpPr/>
          <p:nvPr/>
        </p:nvSpPr>
        <p:spPr>
          <a:xfrm>
            <a:off x="7925874" y="2457093"/>
            <a:ext cx="2228541" cy="2228541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26000">
                <a:schemeClr val="accent1">
                  <a:shade val="100000"/>
                  <a:satMod val="115000"/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  <a:highlight>
                <a:srgbClr val="C0C0C0"/>
              </a:highlight>
              <a:latin typeface="Century Gothic" panose="020B0502020202020204" pitchFamily="34" charset="0"/>
            </a:endParaRPr>
          </a:p>
        </p:txBody>
      </p:sp>
      <p:sp>
        <p:nvSpPr>
          <p:cNvPr id="9" name="Ovale 8">
            <a:extLst>
              <a:ext uri="{FF2B5EF4-FFF2-40B4-BE49-F238E27FC236}">
                <a16:creationId xmlns:a16="http://schemas.microsoft.com/office/drawing/2014/main" id="{0A0B2E75-491B-B3B5-67CA-0B2D86CF1199}"/>
              </a:ext>
            </a:extLst>
          </p:cNvPr>
          <p:cNvSpPr/>
          <p:nvPr/>
        </p:nvSpPr>
        <p:spPr>
          <a:xfrm>
            <a:off x="7032635" y="-66039"/>
            <a:ext cx="2228541" cy="2228541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26000">
                <a:schemeClr val="accent1">
                  <a:shade val="100000"/>
                  <a:satMod val="115000"/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err="1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FAC534E-C02E-47C2-8DD3-64A93861069D}"/>
              </a:ext>
            </a:extLst>
          </p:cNvPr>
          <p:cNvSpPr txBox="1"/>
          <p:nvPr/>
        </p:nvSpPr>
        <p:spPr>
          <a:xfrm>
            <a:off x="9093734" y="2550848"/>
            <a:ext cx="1842263" cy="771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renze </a:t>
            </a:r>
          </a:p>
          <a:p>
            <a:pPr defTabSz="9143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err="1">
                <a:solidFill>
                  <a:srgbClr val="FFFFFF"/>
                </a:solidFill>
                <a:latin typeface="Century Gothic"/>
              </a:rPr>
              <a:t>Moda</a:t>
            </a:r>
            <a:r>
              <a:rPr lang="en-US" sz="1400">
                <a:solidFill>
                  <a:srgbClr val="FFFFFF"/>
                </a:solidFill>
                <a:latin typeface="Century Gothic"/>
              </a:rPr>
              <a:t>, Food &amp; Beverage, Turismo</a:t>
            </a:r>
            <a:endParaRPr lang="it-IT" sz="1400">
              <a:solidFill>
                <a:srgbClr val="FFFFFF"/>
              </a:solidFill>
              <a:latin typeface="Century Gothic"/>
            </a:endParaRPr>
          </a:p>
        </p:txBody>
      </p:sp>
      <p:sp>
        <p:nvSpPr>
          <p:cNvPr id="51" name="Rettangolo 50">
            <a:extLst>
              <a:ext uri="{FF2B5EF4-FFF2-40B4-BE49-F238E27FC236}">
                <a16:creationId xmlns:a16="http://schemas.microsoft.com/office/drawing/2014/main" id="{23913321-6506-6188-27FC-65D3498592A5}"/>
              </a:ext>
            </a:extLst>
          </p:cNvPr>
          <p:cNvSpPr/>
          <p:nvPr/>
        </p:nvSpPr>
        <p:spPr>
          <a:xfrm>
            <a:off x="9093732" y="348699"/>
            <a:ext cx="1309881" cy="77131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Venezia 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urismo 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veltec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 </a:t>
            </a:r>
          </a:p>
        </p:txBody>
      </p:sp>
      <p:cxnSp>
        <p:nvCxnSpPr>
          <p:cNvPr id="16" name="Connettore 1 15">
            <a:extLst>
              <a:ext uri="{FF2B5EF4-FFF2-40B4-BE49-F238E27FC236}">
                <a16:creationId xmlns:a16="http://schemas.microsoft.com/office/drawing/2014/main" id="{6A8AEEC4-4FB1-B042-4256-E98CF86E7CCA}"/>
              </a:ext>
            </a:extLst>
          </p:cNvPr>
          <p:cNvCxnSpPr>
            <a:cxnSpLocks/>
          </p:cNvCxnSpPr>
          <p:nvPr/>
        </p:nvCxnSpPr>
        <p:spPr>
          <a:xfrm>
            <a:off x="7618477" y="1988621"/>
            <a:ext cx="3" cy="944800"/>
          </a:xfrm>
          <a:prstGeom prst="line">
            <a:avLst/>
          </a:prstGeom>
          <a:ln w="9525">
            <a:solidFill>
              <a:schemeClr val="bg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47">
            <a:extLst>
              <a:ext uri="{FF2B5EF4-FFF2-40B4-BE49-F238E27FC236}">
                <a16:creationId xmlns:a16="http://schemas.microsoft.com/office/drawing/2014/main" id="{E15DA4E2-FF6A-2530-12DF-094523ECA1E7}"/>
              </a:ext>
            </a:extLst>
          </p:cNvPr>
          <p:cNvCxnSpPr>
            <a:cxnSpLocks/>
          </p:cNvCxnSpPr>
          <p:nvPr/>
        </p:nvCxnSpPr>
        <p:spPr>
          <a:xfrm>
            <a:off x="7618480" y="2933421"/>
            <a:ext cx="1451414" cy="0"/>
          </a:xfrm>
          <a:prstGeom prst="line">
            <a:avLst/>
          </a:prstGeom>
          <a:ln w="9525">
            <a:solidFill>
              <a:schemeClr val="bg1"/>
            </a:solidFill>
            <a:head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ttore 1 55">
            <a:extLst>
              <a:ext uri="{FF2B5EF4-FFF2-40B4-BE49-F238E27FC236}">
                <a16:creationId xmlns:a16="http://schemas.microsoft.com/office/drawing/2014/main" id="{DBE341C5-9DDB-39C1-44C1-5620829A5541}"/>
              </a:ext>
            </a:extLst>
          </p:cNvPr>
          <p:cNvCxnSpPr>
            <a:cxnSpLocks/>
          </p:cNvCxnSpPr>
          <p:nvPr/>
        </p:nvCxnSpPr>
        <p:spPr>
          <a:xfrm>
            <a:off x="9070553" y="2650499"/>
            <a:ext cx="0" cy="647351"/>
          </a:xfrm>
          <a:prstGeom prst="line">
            <a:avLst/>
          </a:prstGeom>
          <a:ln w="9525">
            <a:solidFill>
              <a:schemeClr val="bg1"/>
            </a:solidFill>
            <a:head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uppo 86">
            <a:extLst>
              <a:ext uri="{FF2B5EF4-FFF2-40B4-BE49-F238E27FC236}">
                <a16:creationId xmlns:a16="http://schemas.microsoft.com/office/drawing/2014/main" id="{E38F4E0B-24F7-3A49-CB49-F488B155BD13}"/>
              </a:ext>
            </a:extLst>
          </p:cNvPr>
          <p:cNvGrpSpPr/>
          <p:nvPr/>
        </p:nvGrpSpPr>
        <p:grpSpPr>
          <a:xfrm>
            <a:off x="8134545" y="484690"/>
            <a:ext cx="936008" cy="648211"/>
            <a:chOff x="8134545" y="484690"/>
            <a:chExt cx="936008" cy="648211"/>
          </a:xfrm>
        </p:grpSpPr>
        <p:cxnSp>
          <p:nvCxnSpPr>
            <p:cNvPr id="32" name="Connettore 1 31">
              <a:extLst>
                <a:ext uri="{FF2B5EF4-FFF2-40B4-BE49-F238E27FC236}">
                  <a16:creationId xmlns:a16="http://schemas.microsoft.com/office/drawing/2014/main" id="{D8E5D626-1B7E-8485-E92B-FDCEE1F26DD7}"/>
                </a:ext>
              </a:extLst>
            </p:cNvPr>
            <p:cNvCxnSpPr>
              <a:cxnSpLocks/>
            </p:cNvCxnSpPr>
            <p:nvPr/>
          </p:nvCxnSpPr>
          <p:spPr>
            <a:xfrm>
              <a:off x="8134545" y="1132901"/>
              <a:ext cx="936008" cy="0"/>
            </a:xfrm>
            <a:prstGeom prst="line">
              <a:avLst/>
            </a:prstGeom>
            <a:ln w="9525">
              <a:solidFill>
                <a:schemeClr val="bg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ttore 1 58">
              <a:extLst>
                <a:ext uri="{FF2B5EF4-FFF2-40B4-BE49-F238E27FC236}">
                  <a16:creationId xmlns:a16="http://schemas.microsoft.com/office/drawing/2014/main" id="{D63F6120-E31B-8F0F-C10C-7D20355F4CD4}"/>
                </a:ext>
              </a:extLst>
            </p:cNvPr>
            <p:cNvCxnSpPr>
              <a:cxnSpLocks/>
            </p:cNvCxnSpPr>
            <p:nvPr/>
          </p:nvCxnSpPr>
          <p:spPr>
            <a:xfrm>
              <a:off x="9070553" y="484690"/>
              <a:ext cx="0" cy="647351"/>
            </a:xfrm>
            <a:prstGeom prst="line">
              <a:avLst/>
            </a:prstGeom>
            <a:ln w="9525">
              <a:solidFill>
                <a:schemeClr val="bg1"/>
              </a:solidFill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1" name="Immagine 80" descr="Immagine che contiene logo&#10;&#10;Descrizione generata automaticamente">
            <a:extLst>
              <a:ext uri="{FF2B5EF4-FFF2-40B4-BE49-F238E27FC236}">
                <a16:creationId xmlns:a16="http://schemas.microsoft.com/office/drawing/2014/main" id="{5A2D7DAD-BF1E-B7D5-96C8-49790A5DDD5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135" b="26912"/>
          <a:stretch/>
        </p:blipFill>
        <p:spPr>
          <a:xfrm>
            <a:off x="10836265" y="542239"/>
            <a:ext cx="1156066" cy="455323"/>
          </a:xfrm>
          <a:prstGeom prst="rect">
            <a:avLst/>
          </a:prstGeom>
        </p:spPr>
      </p:pic>
      <p:sp>
        <p:nvSpPr>
          <p:cNvPr id="82" name="Rettangolo 81">
            <a:extLst>
              <a:ext uri="{FF2B5EF4-FFF2-40B4-BE49-F238E27FC236}">
                <a16:creationId xmlns:a16="http://schemas.microsoft.com/office/drawing/2014/main" id="{63884BD4-6328-E35F-C319-3C6EAEE1ED22}"/>
              </a:ext>
            </a:extLst>
          </p:cNvPr>
          <p:cNvSpPr/>
          <p:nvPr/>
        </p:nvSpPr>
        <p:spPr>
          <a:xfrm rot="10800000">
            <a:off x="7903236" y="1345968"/>
            <a:ext cx="4306415" cy="939407"/>
          </a:xfrm>
          <a:prstGeom prst="rect">
            <a:avLst/>
          </a:prstGeom>
          <a:gradFill flip="none" rotWithShape="1">
            <a:gsLst>
              <a:gs pos="0">
                <a:srgbClr val="052431">
                  <a:alpha val="0"/>
                </a:srgbClr>
              </a:gs>
              <a:gs pos="100000">
                <a:srgbClr val="05243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095DA35E-722C-7642-B166-B2FA2A737F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12770" y="1341852"/>
            <a:ext cx="1203056" cy="1011388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9093732" y="1503148"/>
            <a:ext cx="2609120" cy="555874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orino </a:t>
            </a: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mart cities</a:t>
            </a:r>
          </a:p>
        </p:txBody>
      </p:sp>
      <p:cxnSp>
        <p:nvCxnSpPr>
          <p:cNvPr id="72" name="Connettore 1 71">
            <a:extLst>
              <a:ext uri="{FF2B5EF4-FFF2-40B4-BE49-F238E27FC236}">
                <a16:creationId xmlns:a16="http://schemas.microsoft.com/office/drawing/2014/main" id="{87054204-692D-0CE2-780C-40A53888D42F}"/>
              </a:ext>
            </a:extLst>
          </p:cNvPr>
          <p:cNvCxnSpPr>
            <a:cxnSpLocks/>
          </p:cNvCxnSpPr>
          <p:nvPr/>
        </p:nvCxnSpPr>
        <p:spPr>
          <a:xfrm>
            <a:off x="6275731" y="1409410"/>
            <a:ext cx="0" cy="371675"/>
          </a:xfrm>
          <a:prstGeom prst="line">
            <a:avLst/>
          </a:prstGeom>
          <a:ln w="9525">
            <a:solidFill>
              <a:schemeClr val="bg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ttore 1 72">
            <a:extLst>
              <a:ext uri="{FF2B5EF4-FFF2-40B4-BE49-F238E27FC236}">
                <a16:creationId xmlns:a16="http://schemas.microsoft.com/office/drawing/2014/main" id="{C6582A9C-85BE-F273-4B35-CD8D86CF06BA}"/>
              </a:ext>
            </a:extLst>
          </p:cNvPr>
          <p:cNvCxnSpPr>
            <a:cxnSpLocks/>
          </p:cNvCxnSpPr>
          <p:nvPr/>
        </p:nvCxnSpPr>
        <p:spPr>
          <a:xfrm>
            <a:off x="6275731" y="1781085"/>
            <a:ext cx="2794822" cy="0"/>
          </a:xfrm>
          <a:prstGeom prst="line">
            <a:avLst/>
          </a:prstGeom>
          <a:ln w="9525">
            <a:solidFill>
              <a:schemeClr val="bg1"/>
            </a:solidFill>
            <a:head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ttore 1 82">
            <a:extLst>
              <a:ext uri="{FF2B5EF4-FFF2-40B4-BE49-F238E27FC236}">
                <a16:creationId xmlns:a16="http://schemas.microsoft.com/office/drawing/2014/main" id="{5480D2A4-A3EF-8405-E23E-B9FECCE5D89C}"/>
              </a:ext>
            </a:extLst>
          </p:cNvPr>
          <p:cNvCxnSpPr>
            <a:cxnSpLocks/>
          </p:cNvCxnSpPr>
          <p:nvPr/>
        </p:nvCxnSpPr>
        <p:spPr>
          <a:xfrm>
            <a:off x="9074289" y="1468380"/>
            <a:ext cx="0" cy="647351"/>
          </a:xfrm>
          <a:prstGeom prst="line">
            <a:avLst/>
          </a:prstGeom>
          <a:ln w="9525">
            <a:solidFill>
              <a:schemeClr val="bg1"/>
            </a:solidFill>
            <a:head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1 16">
            <a:extLst>
              <a:ext uri="{FF2B5EF4-FFF2-40B4-BE49-F238E27FC236}">
                <a16:creationId xmlns:a16="http://schemas.microsoft.com/office/drawing/2014/main" id="{CC74AB66-9312-A104-7278-345FFC87E43C}"/>
              </a:ext>
            </a:extLst>
          </p:cNvPr>
          <p:cNvCxnSpPr>
            <a:cxnSpLocks/>
          </p:cNvCxnSpPr>
          <p:nvPr/>
        </p:nvCxnSpPr>
        <p:spPr>
          <a:xfrm>
            <a:off x="9052235" y="3596575"/>
            <a:ext cx="0" cy="663453"/>
          </a:xfrm>
          <a:prstGeom prst="line">
            <a:avLst/>
          </a:prstGeom>
          <a:ln w="9525">
            <a:solidFill>
              <a:schemeClr val="bg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286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74" r="7976"/>
          <a:stretch/>
        </p:blipFill>
        <p:spPr>
          <a:xfrm>
            <a:off x="4820539" y="-30567"/>
            <a:ext cx="7371461" cy="4801961"/>
          </a:xfrm>
          <a:prstGeom prst="parallelogram">
            <a:avLst>
              <a:gd name="adj" fmla="val 0"/>
            </a:avLst>
          </a:prstGeom>
        </p:spPr>
      </p:pic>
      <p:sp>
        <p:nvSpPr>
          <p:cNvPr id="2" name="Rettangolo 1"/>
          <p:cNvSpPr/>
          <p:nvPr/>
        </p:nvSpPr>
        <p:spPr>
          <a:xfrm>
            <a:off x="404828" y="1850940"/>
            <a:ext cx="3666476" cy="2071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ffondiamo la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ultura dell'innovazione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uovendo la divulgazione delle conoscenze e le best </a:t>
            </a:r>
            <a:r>
              <a:rPr kumimoji="0" lang="it-IT" sz="1837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actices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ttraverso 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venti 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</a:t>
            </a:r>
            <a:r>
              <a:rPr kumimoji="0" lang="it-IT" sz="183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format educativi</a:t>
            </a: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</a:t>
            </a:r>
            <a:endParaRPr kumimoji="0" lang="en-US" sz="183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3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kumimoji="0" lang="en-US" sz="183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04828" y="1009933"/>
            <a:ext cx="3335240" cy="5428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2857" b="0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dentity &amp; Culture</a:t>
            </a:r>
          </a:p>
        </p:txBody>
      </p:sp>
      <p:cxnSp>
        <p:nvCxnSpPr>
          <p:cNvPr id="18" name="Connettore 1 17"/>
          <p:cNvCxnSpPr/>
          <p:nvPr/>
        </p:nvCxnSpPr>
        <p:spPr>
          <a:xfrm>
            <a:off x="450084" y="5833863"/>
            <a:ext cx="113565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390019" y="4907935"/>
            <a:ext cx="2435642" cy="34536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ttività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di networking</a:t>
            </a:r>
          </a:p>
        </p:txBody>
      </p:sp>
      <p:sp>
        <p:nvSpPr>
          <p:cNvPr id="22" name="Rettangolo 21"/>
          <p:cNvSpPr/>
          <p:nvPr/>
        </p:nvSpPr>
        <p:spPr>
          <a:xfrm>
            <a:off x="6976060" y="4907935"/>
            <a:ext cx="2764886" cy="606728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eminari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 webinar e format </a:t>
            </a: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vulgativi</a:t>
            </a:r>
            <a:endParaRPr kumimoji="0" lang="en-US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10101532" y="4907935"/>
            <a:ext cx="1328240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novation Experience</a:t>
            </a:r>
            <a:endParaRPr kumimoji="0" lang="it-IT" sz="1632" b="1" i="0" u="none" strike="noStrike" kern="1200" cap="none" spc="0" normalizeH="0" baseline="0" noProof="0">
              <a:ln>
                <a:noFill/>
              </a:ln>
              <a:solidFill>
                <a:srgbClr val="003A7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>
                <a:solidFill>
                  <a:schemeClr val="tx2"/>
                </a:solidFill>
              </a:rPr>
              <a:t>Ambiti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8E7FD8E3-D674-8849-A5AE-6158DDA879C1}"/>
              </a:ext>
            </a:extLst>
          </p:cNvPr>
          <p:cNvSpPr/>
          <p:nvPr/>
        </p:nvSpPr>
        <p:spPr>
          <a:xfrm>
            <a:off x="4797695" y="1"/>
            <a:ext cx="5226167" cy="4763816"/>
          </a:xfrm>
          <a:prstGeom prst="rect">
            <a:avLst/>
          </a:prstGeom>
          <a:gradFill>
            <a:gsLst>
              <a:gs pos="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14" name="Connettore 1 13">
            <a:extLst>
              <a:ext uri="{FF2B5EF4-FFF2-40B4-BE49-F238E27FC236}">
                <a16:creationId xmlns:a16="http://schemas.microsoft.com/office/drawing/2014/main" id="{826B2574-9EBF-3B46-9A74-F867C4FCD42C}"/>
              </a:ext>
            </a:extLst>
          </p:cNvPr>
          <p:cNvCxnSpPr>
            <a:cxnSpLocks/>
          </p:cNvCxnSpPr>
          <p:nvPr/>
        </p:nvCxnSpPr>
        <p:spPr>
          <a:xfrm>
            <a:off x="450084" y="4769398"/>
            <a:ext cx="117418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tangolo 18">
            <a:extLst>
              <a:ext uri="{FF2B5EF4-FFF2-40B4-BE49-F238E27FC236}">
                <a16:creationId xmlns:a16="http://schemas.microsoft.com/office/drawing/2014/main" id="{EB035B39-1994-4C29-B8F4-74C2C105CDD2}"/>
              </a:ext>
            </a:extLst>
          </p:cNvPr>
          <p:cNvSpPr/>
          <p:nvPr/>
        </p:nvSpPr>
        <p:spPr>
          <a:xfrm>
            <a:off x="3355965" y="4907935"/>
            <a:ext cx="2772418" cy="596526"/>
          </a:xfrm>
          <a:prstGeom prst="rect">
            <a:avLst/>
          </a:prstGeom>
        </p:spPr>
        <p:txBody>
          <a:bodyPr wrap="square" lIns="93297" tIns="46649" rIns="93297" bIns="46649" anchor="t">
            <a:spAutoFit/>
          </a:bodyPr>
          <a:lstStyle/>
          <a:p>
            <a:pPr marL="0" marR="0" lvl="0" indent="0" algn="l" defTabSz="9143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venti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di </a:t>
            </a:r>
            <a:r>
              <a:rPr kumimoji="0" lang="en-US" sz="1632" b="1" i="0" u="none" strike="noStrike" kern="1200" cap="none" spc="0" normalizeH="0" baseline="0" noProof="0" err="1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sizionamento</a:t>
            </a: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srgbClr val="003A7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e match-making</a:t>
            </a:r>
          </a:p>
        </p:txBody>
      </p:sp>
    </p:spTree>
    <p:extLst>
      <p:ext uri="{BB962C8B-B14F-4D97-AF65-F5344CB8AC3E}">
        <p14:creationId xmlns:p14="http://schemas.microsoft.com/office/powerpoint/2010/main" val="3037911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hRAcdm.qgr7Pb5bTEI7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aQU8VV7U2a6ntPSusV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bx4d.1k.hfNjSACE8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3kml4B1Xes7UIyYO8w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3kml4B1Xes7UIyYO8w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6FTuYXu1zVkjQIddBl5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CsMhcHGhWAXUf3ml4R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B2KOjFdnxB2GEupRTLM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tIvHKdne2aWMsFHoiH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NsbtL629f3pz1bC16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5YaC6u9UdgOw5I0MY4_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xkSdsdl.HRzVU30Tmb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yy.8_ah5CmtdVF57bXv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RxgKrQJmXLXQXo8UA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bx4d.1k.hfNjSACE8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410RJRb2He1jcwISPW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bx4d.1k.hfNjSACE8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bx4d.1k.hfNjSACE8pw"/>
</p:tagLst>
</file>

<file path=ppt/theme/theme1.xml><?xml version="1.0" encoding="utf-8"?>
<a:theme xmlns:a="http://schemas.openxmlformats.org/drawingml/2006/main" name="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2.xml><?xml version="1.0" encoding="utf-8"?>
<a:theme xmlns:a="http://schemas.openxmlformats.org/drawingml/2006/main" name="cov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ver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5.xml><?xml version="1.0" encoding="utf-8"?>
<a:theme xmlns:a="http://schemas.openxmlformats.org/drawingml/2006/main" name="2_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6.xml><?xml version="1.0" encoding="utf-8"?>
<a:theme xmlns:a="http://schemas.openxmlformats.org/drawingml/2006/main" name="3_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7.xml><?xml version="1.0" encoding="utf-8"?>
<a:theme xmlns:a="http://schemas.openxmlformats.org/drawingml/2006/main" name="4_INTESA SP - 19.IT1 16-9">
  <a:themeElements>
    <a:clrScheme name="Custom 1">
      <a:dk1>
        <a:srgbClr val="000000"/>
      </a:dk1>
      <a:lt1>
        <a:srgbClr val="FFFFFF"/>
      </a:lt1>
      <a:dk2>
        <a:srgbClr val="003A79"/>
      </a:dk2>
      <a:lt2>
        <a:srgbClr val="40915B"/>
      </a:lt2>
      <a:accent1>
        <a:srgbClr val="C0CCE4"/>
      </a:accent1>
      <a:accent2>
        <a:srgbClr val="F1CE40"/>
      </a:accent2>
      <a:accent3>
        <a:srgbClr val="F18B40"/>
      </a:accent3>
      <a:accent4>
        <a:srgbClr val="406B9B"/>
      </a:accent4>
      <a:accent5>
        <a:srgbClr val="DDDDDD"/>
      </a:accent5>
      <a:accent6>
        <a:srgbClr val="808080"/>
      </a:accent6>
      <a:hlink>
        <a:srgbClr val="F18B40"/>
      </a:hlink>
      <a:folHlink>
        <a:srgbClr val="406B9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LOR">
        <a:dk1>
          <a:srgbClr val="000000"/>
        </a:dk1>
        <a:lt1>
          <a:srgbClr val="FFFFFF"/>
        </a:lt1>
        <a:dk2>
          <a:srgbClr val="003A79"/>
        </a:dk2>
        <a:lt2>
          <a:srgbClr val="006C24"/>
        </a:lt2>
        <a:accent1>
          <a:srgbClr val="C0CCE4"/>
        </a:accent1>
        <a:accent2>
          <a:srgbClr val="ECBD00"/>
        </a:accent2>
        <a:accent3>
          <a:srgbClr val="EC6400"/>
        </a:accent3>
        <a:accent4>
          <a:srgbClr val="003A79"/>
        </a:accent4>
        <a:accent5>
          <a:srgbClr val="DDDDDD"/>
        </a:accent5>
        <a:accent6>
          <a:srgbClr val="808080"/>
        </a:accent6>
        <a:hlink>
          <a:srgbClr val="EC6400"/>
        </a:hlink>
        <a:folHlink>
          <a:srgbClr val="003A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SA SP - 19.IT1 16-9.potx" id="{711BB676-7FEA-40B0-98B0-27ACB0A5E62A}" vid="{E49B8EAB-BD0A-488B-A795-18CB10065F08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neDeskFile" ma:contentTypeID="0x0101009CD95F42D07140AE8E989681BBB855960012E005B342AED24D985BFE0A8887C6D5" ma:contentTypeVersion="2" ma:contentTypeDescription="OneDesk File" ma:contentTypeScope="" ma:versionID="a1d42f53c9ae91553eff9cba931592f7">
  <xsd:schema xmlns:xsd="http://www.w3.org/2001/XMLSchema" xmlns:xs="http://www.w3.org/2001/XMLSchema" xmlns:p="http://schemas.microsoft.com/office/2006/metadata/properties" xmlns:ns2="6eecb00e-2fbc-4f81-9783-a38d9cd6a8bc" targetNamespace="http://schemas.microsoft.com/office/2006/metadata/properties" ma:root="true" ma:fieldsID="17c3bb134637189f53ac7f156edb1d40" ns2:_="">
    <xsd:import namespace="6eecb00e-2fbc-4f81-9783-a38d9cd6a8bc"/>
    <xsd:element name="properties">
      <xsd:complexType>
        <xsd:sequence>
          <xsd:element name="documentManagement">
            <xsd:complexType>
              <xsd:all>
                <xsd:element ref="ns2:OneDeskAutho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ecb00e-2fbc-4f81-9783-a38d9cd6a8bc" elementFormDefault="qualified">
    <xsd:import namespace="http://schemas.microsoft.com/office/2006/documentManagement/types"/>
    <xsd:import namespace="http://schemas.microsoft.com/office/infopath/2007/PartnerControls"/>
    <xsd:element name="OneDeskAuthor" ma:index="8" nillable="true" ma:displayName="FileAuthor" ma:internalName="OneDeskAuthor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neDeskAuthor xmlns="6eecb00e-2fbc-4f81-9783-a38d9cd6a8bc">U066221</OneDeskAuthor>
  </documentManagement>
</p:properties>
</file>

<file path=customXml/itemProps1.xml><?xml version="1.0" encoding="utf-8"?>
<ds:datastoreItem xmlns:ds="http://schemas.openxmlformats.org/officeDocument/2006/customXml" ds:itemID="{7CCFA1D1-C823-47C4-A507-78A6FD4A98D4}">
  <ds:schemaRefs>
    <ds:schemaRef ds:uri="6eecb00e-2fbc-4f81-9783-a38d9cd6a8b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67265BC-9D1C-4653-8AD7-FDD697B3E0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FB07E8F-C3C4-488E-8803-BA3F2456BDF5}">
  <ds:schemaRefs>
    <ds:schemaRef ds:uri="6eecb00e-2fbc-4f81-9783-a38d9cd6a8b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51</Slides>
  <Notes>42</Notes>
  <HiddenSlides>3</HiddenSlide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51</vt:i4>
      </vt:variant>
    </vt:vector>
  </HeadingPairs>
  <TitlesOfParts>
    <vt:vector size="58" baseType="lpstr">
      <vt:lpstr>INTESA SP - 19.IT1 16-9</vt:lpstr>
      <vt:lpstr>cover</vt:lpstr>
      <vt:lpstr>Cover2</vt:lpstr>
      <vt:lpstr>1_INTESA SP - 19.IT1 16-9</vt:lpstr>
      <vt:lpstr>2_INTESA SP - 19.IT1 16-9</vt:lpstr>
      <vt:lpstr>3_INTESA SP - 19.IT1 16-9</vt:lpstr>
      <vt:lpstr>4_INTESA SP - 19.IT1 16-9</vt:lpstr>
      <vt:lpstr>Presentazione  Intesa Sanpaolo Innovation Center </vt:lpstr>
      <vt:lpstr>PowerPoint Presentation</vt:lpstr>
      <vt:lpstr>PowerPoint Presentation</vt:lpstr>
      <vt:lpstr>Obiettivi</vt:lpstr>
      <vt:lpstr>Ambiti</vt:lpstr>
      <vt:lpstr>Ambiti</vt:lpstr>
      <vt:lpstr>Ambiti</vt:lpstr>
      <vt:lpstr>Ambiti</vt:lpstr>
      <vt:lpstr>Ambiti</vt:lpstr>
      <vt:lpstr>PowerPoint Presentation</vt:lpstr>
      <vt:lpstr>I numeri di Intesa Sanpaolo Innovation Center</vt:lpstr>
      <vt:lpstr>Il percorso verso Intesa Sanpaolo Innovation Center S.p.A</vt:lpstr>
      <vt:lpstr>Perché facciamo  tutto questo? </vt:lpstr>
      <vt:lpstr>Scenario</vt:lpstr>
      <vt:lpstr>Le opportunità nelle sfide globali</vt:lpstr>
      <vt:lpstr>L’Italia nel contesto Europeo di innovazione</vt:lpstr>
      <vt:lpstr>Gli investimenti Venture Capital in Startup e PMI Innovative</vt:lpstr>
      <vt:lpstr>Il ruolo centrale dell’Open Innovation</vt:lpstr>
      <vt:lpstr>Il nostro ruolo</vt:lpstr>
      <vt:lpstr>Il nostro ruolo nel contesto dell’innovazione del Paese</vt:lpstr>
      <vt:lpstr>PowerPoint Presentation</vt:lpstr>
      <vt:lpstr>Supporto alla crescita del Sistema Paese e dei Territori - Startup  </vt:lpstr>
      <vt:lpstr>Supporto alla crescita del Sistema Paese e dei Territori - Aziende  </vt:lpstr>
      <vt:lpstr>Il nostro presidio internazionale</vt:lpstr>
      <vt:lpstr>Ecosistemi, i principali numeri</vt:lpstr>
      <vt:lpstr>Ecosistemi, i principali numeri</vt:lpstr>
      <vt:lpstr>Frontier Research </vt:lpstr>
      <vt:lpstr>Frontier Research </vt:lpstr>
      <vt:lpstr>Innovation Intelligence &amp; Applied Research</vt:lpstr>
      <vt:lpstr>Seminari di Applied Research</vt:lpstr>
      <vt:lpstr>La partnership con Ellen MacArthur Foundation</vt:lpstr>
      <vt:lpstr>Trasformazione del sistema produttivo in ottica CE </vt:lpstr>
      <vt:lpstr>CE Lab</vt:lpstr>
      <vt:lpstr>Attività e prodotti </vt:lpstr>
      <vt:lpstr>Principali ambiti</vt:lpstr>
      <vt:lpstr>La nostra offerta</vt:lpstr>
      <vt:lpstr>Innovation News </vt:lpstr>
      <vt:lpstr>Trend Report</vt:lpstr>
      <vt:lpstr> Percorsi di accelerazione: Startup Initiative in white label </vt:lpstr>
      <vt:lpstr>Startup Initiative in White Label​ - Le fasi ​</vt:lpstr>
      <vt:lpstr>Tech Scouting </vt:lpstr>
      <vt:lpstr>Tech Matching </vt:lpstr>
      <vt:lpstr>Tech Tour </vt:lpstr>
      <vt:lpstr>Tech Lab</vt:lpstr>
      <vt:lpstr>Il Circular Economy Lab</vt:lpstr>
      <vt:lpstr>Torino Cities of the Future  Techstars Accelerator</vt:lpstr>
      <vt:lpstr>Techstars, a Torino l’acceleratore sulla Smart City</vt:lpstr>
      <vt:lpstr>Il ruolo di Intesa Sanpaolo Innovation Center</vt:lpstr>
      <vt:lpstr>Il Gruppo Intesa Sanpaolo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IN AGGIORNAMENTO</dc:title>
  <dc:creator>Lorenzo Negro</dc:creator>
  <cp:revision>1</cp:revision>
  <dcterms:created xsi:type="dcterms:W3CDTF">2021-06-29T11:58:54Z</dcterms:created>
  <dcterms:modified xsi:type="dcterms:W3CDTF">2023-09-18T09:4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5fe31f-9de1-4167-a753-111c0df8115f_Enabled">
    <vt:lpwstr>true</vt:lpwstr>
  </property>
  <property fmtid="{D5CDD505-2E9C-101B-9397-08002B2CF9AE}" pid="3" name="MSIP_Label_5f5fe31f-9de1-4167-a753-111c0df8115f_SetDate">
    <vt:lpwstr>2023-04-18T16:15:44Z</vt:lpwstr>
  </property>
  <property fmtid="{D5CDD505-2E9C-101B-9397-08002B2CF9AE}" pid="4" name="MSIP_Label_5f5fe31f-9de1-4167-a753-111c0df8115f_Method">
    <vt:lpwstr>Standard</vt:lpwstr>
  </property>
  <property fmtid="{D5CDD505-2E9C-101B-9397-08002B2CF9AE}" pid="5" name="MSIP_Label_5f5fe31f-9de1-4167-a753-111c0df8115f_Name">
    <vt:lpwstr>5f5fe31f-9de1-4167-a753-111c0df8115f</vt:lpwstr>
  </property>
  <property fmtid="{D5CDD505-2E9C-101B-9397-08002B2CF9AE}" pid="6" name="MSIP_Label_5f5fe31f-9de1-4167-a753-111c0df8115f_SiteId">
    <vt:lpwstr>cc4baf00-15c9-48dd-9f59-88c98bde2be7</vt:lpwstr>
  </property>
  <property fmtid="{D5CDD505-2E9C-101B-9397-08002B2CF9AE}" pid="7" name="MSIP_Label_5f5fe31f-9de1-4167-a753-111c0df8115f_ActionId">
    <vt:lpwstr>85b9c3ac-ff4a-4ccf-ab66-ec9a18226084</vt:lpwstr>
  </property>
  <property fmtid="{D5CDD505-2E9C-101B-9397-08002B2CF9AE}" pid="8" name="MSIP_Label_5f5fe31f-9de1-4167-a753-111c0df8115f_ContentBits">
    <vt:lpwstr>0</vt:lpwstr>
  </property>
  <property fmtid="{D5CDD505-2E9C-101B-9397-08002B2CF9AE}" pid="9" name="ContentTypeId">
    <vt:lpwstr>0x0101009CD95F42D07140AE8E989681BBB855960012E005B342AED24D985BFE0A8887C6D5</vt:lpwstr>
  </property>
</Properties>
</file>